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93" r:id="rId2"/>
    <p:sldMasterId id="2147483670" r:id="rId3"/>
    <p:sldMasterId id="2147483724" r:id="rId4"/>
  </p:sldMasterIdLst>
  <p:notesMasterIdLst>
    <p:notesMasterId r:id="rId18"/>
  </p:notesMasterIdLst>
  <p:handoutMasterIdLst>
    <p:handoutMasterId r:id="rId19"/>
  </p:handoutMasterIdLst>
  <p:sldIdLst>
    <p:sldId id="256" r:id="rId5"/>
    <p:sldId id="564" r:id="rId6"/>
    <p:sldId id="1028" r:id="rId7"/>
    <p:sldId id="1026" r:id="rId8"/>
    <p:sldId id="1025" r:id="rId9"/>
    <p:sldId id="1027" r:id="rId10"/>
    <p:sldId id="1029" r:id="rId11"/>
    <p:sldId id="1030" r:id="rId12"/>
    <p:sldId id="1031" r:id="rId13"/>
    <p:sldId id="1032" r:id="rId14"/>
    <p:sldId id="1033" r:id="rId15"/>
    <p:sldId id="1034" r:id="rId16"/>
    <p:sldId id="276" r:id="rId17"/>
  </p:sldIdLst>
  <p:sldSz cx="9144000" cy="5143500" type="screen16x9"/>
  <p:notesSz cx="6669088" cy="9775825"/>
  <p:custDataLst>
    <p:tags r:id="rId2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rom Melt to Yarn" id="{C85699C4-1505-424E-9387-E614CA17904D}">
          <p14:sldIdLst>
            <p14:sldId id="256"/>
            <p14:sldId id="564"/>
            <p14:sldId id="1028"/>
            <p14:sldId id="1026"/>
            <p14:sldId id="1025"/>
            <p14:sldId id="1027"/>
            <p14:sldId id="1029"/>
            <p14:sldId id="1030"/>
            <p14:sldId id="1031"/>
            <p14:sldId id="1032"/>
            <p14:sldId id="1033"/>
            <p14:sldId id="1034"/>
            <p14:sldId id="276"/>
          </p14:sldIdLst>
        </p14:section>
      </p14:sectionLst>
    </p:ext>
    <p:ext uri="{EFAFB233-063F-42B5-8137-9DF3F51BA10A}">
      <p15:sldGuideLst xmlns:p15="http://schemas.microsoft.com/office/powerpoint/2012/main">
        <p15:guide id="1" orient="horz" pos="259">
          <p15:clr>
            <a:srgbClr val="A4A3A4"/>
          </p15:clr>
        </p15:guide>
        <p15:guide id="2" orient="horz" pos="554">
          <p15:clr>
            <a:srgbClr val="A4A3A4"/>
          </p15:clr>
        </p15:guide>
        <p15:guide id="3" orient="horz" pos="1711">
          <p15:clr>
            <a:srgbClr val="A4A3A4"/>
          </p15:clr>
        </p15:guide>
        <p15:guide id="4" orient="horz" pos="1801">
          <p15:clr>
            <a:srgbClr val="A4A3A4"/>
          </p15:clr>
        </p15:guide>
        <p15:guide id="5" orient="horz" pos="2414">
          <p15:clr>
            <a:srgbClr val="A4A3A4"/>
          </p15:clr>
        </p15:guide>
        <p15:guide id="6" orient="horz" pos="2958">
          <p15:clr>
            <a:srgbClr val="A4A3A4"/>
          </p15:clr>
        </p15:guide>
        <p15:guide id="7" orient="horz" pos="3094">
          <p15:clr>
            <a:srgbClr val="A4A3A4"/>
          </p15:clr>
        </p15:guide>
        <p15:guide id="8" orient="horz" pos="3162">
          <p15:clr>
            <a:srgbClr val="A4A3A4"/>
          </p15:clr>
        </p15:guide>
        <p15:guide id="9" pos="2812">
          <p15:clr>
            <a:srgbClr val="A4A3A4"/>
          </p15:clr>
        </p15:guide>
        <p15:guide id="10" pos="2948">
          <p15:clr>
            <a:srgbClr val="A4A3A4"/>
          </p15:clr>
        </p15:guide>
        <p15:guide id="11" pos="226">
          <p15:clr>
            <a:srgbClr val="A4A3A4"/>
          </p15:clr>
        </p15:guide>
        <p15:guide id="12" pos="4400">
          <p15:clr>
            <a:srgbClr val="A4A3A4"/>
          </p15:clr>
        </p15:guide>
        <p15:guide id="13" pos="4967">
          <p15:clr>
            <a:srgbClr val="A4A3A4"/>
          </p15:clr>
        </p15:guide>
        <p15:guide id="14" pos="5534">
          <p15:clr>
            <a:srgbClr val="A4A3A4"/>
          </p15:clr>
        </p15:guide>
        <p15:guide id="15" pos="3855">
          <p15:clr>
            <a:srgbClr val="A4A3A4"/>
          </p15:clr>
        </p15:guide>
        <p15:guide id="16" pos="1905">
          <p15:clr>
            <a:srgbClr val="A4A3A4"/>
          </p15:clr>
        </p15:guide>
        <p15:guide id="17" pos="2041">
          <p15:clr>
            <a:srgbClr val="A4A3A4"/>
          </p15:clr>
        </p15:guide>
        <p15:guide id="18" pos="3719">
          <p15:clr>
            <a:srgbClr val="A4A3A4"/>
          </p15:clr>
        </p15:guide>
      </p15:sldGuideLst>
    </p:ext>
    <p:ext uri="{2D200454-40CA-4A62-9FC3-DE9A4176ACB9}">
      <p15:notesGuideLst xmlns:p15="http://schemas.microsoft.com/office/powerpoint/2012/main">
        <p15:guide id="1" orient="horz" pos="522">
          <p15:clr>
            <a:srgbClr val="A4A3A4"/>
          </p15:clr>
        </p15:guide>
        <p15:guide id="2" orient="horz" pos="306">
          <p15:clr>
            <a:srgbClr val="A4A3A4"/>
          </p15:clr>
        </p15:guide>
        <p15:guide id="3" orient="horz" pos="2444">
          <p15:clr>
            <a:srgbClr val="A4A3A4"/>
          </p15:clr>
        </p15:guide>
        <p15:guide id="4" orient="horz" pos="2580">
          <p15:clr>
            <a:srgbClr val="A4A3A4"/>
          </p15:clr>
        </p15:guide>
        <p15:guide id="5" orient="horz" pos="5614">
          <p15:clr>
            <a:srgbClr val="A4A3A4"/>
          </p15:clr>
        </p15:guide>
        <p15:guide id="6" orient="horz" pos="5721">
          <p15:clr>
            <a:srgbClr val="A4A3A4"/>
          </p15:clr>
        </p15:guide>
        <p15:guide id="7" orient="horz" pos="5851">
          <p15:clr>
            <a:srgbClr val="A4A3A4"/>
          </p15:clr>
        </p15:guide>
        <p15:guide id="8" pos="524">
          <p15:clr>
            <a:srgbClr val="A4A3A4"/>
          </p15:clr>
        </p15:guide>
        <p15:guide id="9" pos="39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12" autoAdjust="0"/>
    <p:restoredTop sz="86385" autoAdjust="0"/>
  </p:normalViewPr>
  <p:slideViewPr>
    <p:cSldViewPr snapToObjects="1" showGuides="1">
      <p:cViewPr varScale="1">
        <p:scale>
          <a:sx n="130" d="100"/>
          <a:sy n="130" d="100"/>
        </p:scale>
        <p:origin x="954" y="120"/>
      </p:cViewPr>
      <p:guideLst>
        <p:guide orient="horz" pos="259"/>
        <p:guide orient="horz" pos="554"/>
        <p:guide orient="horz" pos="1711"/>
        <p:guide orient="horz" pos="1801"/>
        <p:guide orient="horz" pos="2414"/>
        <p:guide orient="horz" pos="2958"/>
        <p:guide orient="horz" pos="3094"/>
        <p:guide orient="horz" pos="3162"/>
        <p:guide pos="2812"/>
        <p:guide pos="2948"/>
        <p:guide pos="226"/>
        <p:guide pos="4400"/>
        <p:guide pos="4967"/>
        <p:guide pos="5534"/>
        <p:guide pos="3855"/>
        <p:guide pos="1905"/>
        <p:guide pos="2041"/>
        <p:guide pos="3719"/>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Objects="1" showGuides="1">
      <p:cViewPr>
        <p:scale>
          <a:sx n="75" d="100"/>
          <a:sy n="75" d="100"/>
        </p:scale>
        <p:origin x="-4104" y="-438"/>
      </p:cViewPr>
      <p:guideLst>
        <p:guide orient="horz" pos="522"/>
        <p:guide orient="horz" pos="306"/>
        <p:guide orient="horz" pos="2444"/>
        <p:guide orient="horz" pos="2580"/>
        <p:guide orient="horz" pos="5614"/>
        <p:guide orient="horz" pos="5721"/>
        <p:guide orient="horz" pos="5851"/>
        <p:guide pos="524"/>
        <p:guide pos="391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459660" y="482196"/>
            <a:ext cx="2773419" cy="345725"/>
          </a:xfrm>
          <a:prstGeom prst="rect">
            <a:avLst/>
          </a:prstGeom>
        </p:spPr>
        <p:txBody>
          <a:bodyPr vert="horz" lIns="0" tIns="0" rIns="0" bIns="0" rtlCol="0"/>
          <a:lstStyle>
            <a:lvl1pPr algn="l">
              <a:defRPr sz="1100"/>
            </a:lvl1pPr>
          </a:lstStyle>
          <a:p>
            <a:endParaRPr lang="en-US" dirty="0"/>
          </a:p>
        </p:txBody>
      </p:sp>
      <p:sp>
        <p:nvSpPr>
          <p:cNvPr id="3" name="Date Placeholder 2"/>
          <p:cNvSpPr>
            <a:spLocks noGrp="1"/>
          </p:cNvSpPr>
          <p:nvPr>
            <p:ph type="dt" sz="quarter" idx="1"/>
          </p:nvPr>
        </p:nvSpPr>
        <p:spPr bwMode="gray">
          <a:xfrm>
            <a:off x="3469834" y="482196"/>
            <a:ext cx="2739935" cy="345726"/>
          </a:xfrm>
          <a:prstGeom prst="rect">
            <a:avLst/>
          </a:prstGeom>
        </p:spPr>
        <p:txBody>
          <a:bodyPr vert="horz" lIns="0" tIns="0" rIns="0" bIns="0" rtlCol="0"/>
          <a:lstStyle>
            <a:lvl1pPr algn="r">
              <a:defRPr sz="1100"/>
            </a:lvl1pPr>
          </a:lstStyle>
          <a:p>
            <a:fld id="{05EFC736-0AFB-4545-8442-0349816BC7A7}" type="datetimeFigureOut">
              <a:rPr lang="en-US" smtClean="0"/>
              <a:t>2/3/2022</a:t>
            </a:fld>
            <a:endParaRPr lang="en-US"/>
          </a:p>
        </p:txBody>
      </p:sp>
      <p:sp>
        <p:nvSpPr>
          <p:cNvPr id="4" name="Footer Placeholder 3"/>
          <p:cNvSpPr>
            <a:spLocks noGrp="1"/>
          </p:cNvSpPr>
          <p:nvPr>
            <p:ph type="ftr" sz="quarter" idx="2"/>
          </p:nvPr>
        </p:nvSpPr>
        <p:spPr bwMode="gray">
          <a:xfrm>
            <a:off x="1440595" y="8909819"/>
            <a:ext cx="3348395" cy="376052"/>
          </a:xfrm>
          <a:prstGeom prst="rect">
            <a:avLst/>
          </a:prstGeom>
        </p:spPr>
        <p:txBody>
          <a:bodyPr vert="horz" lIns="0" tIns="0" rIns="0" bIns="0" rtlCol="0" anchor="b"/>
          <a:lstStyle>
            <a:lvl1pPr algn="l">
              <a:defRPr sz="1100"/>
            </a:lvl1pPr>
          </a:lstStyle>
          <a:p>
            <a:endParaRPr lang="en-US" dirty="0"/>
          </a:p>
        </p:txBody>
      </p:sp>
      <p:sp>
        <p:nvSpPr>
          <p:cNvPr id="5" name="Slide Number Placeholder 4"/>
          <p:cNvSpPr>
            <a:spLocks noGrp="1"/>
          </p:cNvSpPr>
          <p:nvPr>
            <p:ph type="sldNum" sz="quarter" idx="3"/>
          </p:nvPr>
        </p:nvSpPr>
        <p:spPr bwMode="gray">
          <a:xfrm>
            <a:off x="459660" y="8909819"/>
            <a:ext cx="980935" cy="376052"/>
          </a:xfrm>
          <a:prstGeom prst="rect">
            <a:avLst/>
          </a:prstGeom>
        </p:spPr>
        <p:txBody>
          <a:bodyPr vert="horz" lIns="0" tIns="0" rIns="0" bIns="0" rtlCol="0" anchor="b"/>
          <a:lstStyle>
            <a:lvl1pPr algn="r">
              <a:defRPr sz="1100"/>
            </a:lvl1pPr>
          </a:lstStyle>
          <a:p>
            <a:pPr algn="l"/>
            <a:r>
              <a:rPr lang="en-US" dirty="0"/>
              <a:t>Page </a:t>
            </a:r>
            <a:fld id="{43B04D1D-CCF3-40A9-B189-CE366AA4F8F6}" type="slidenum">
              <a:rPr lang="en-US" smtClean="0"/>
              <a:pPr algn="l"/>
              <a:t>‹Nr.›</a:t>
            </a:fld>
            <a:endParaRPr lang="en-US" dirty="0"/>
          </a:p>
        </p:txBody>
      </p:sp>
      <p:sp>
        <p:nvSpPr>
          <p:cNvPr id="6" name="Freeform 2"/>
          <p:cNvSpPr>
            <a:spLocks noEditPoints="1"/>
          </p:cNvSpPr>
          <p:nvPr/>
        </p:nvSpPr>
        <p:spPr bwMode="gray">
          <a:xfrm>
            <a:off x="5228495" y="9078311"/>
            <a:ext cx="981275" cy="213803"/>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6741" tIns="43372" rIns="86741" bIns="43372" numCol="1" anchor="t" anchorCtr="0" compatLnSpc="1">
            <a:prstTxWarp prst="textNoShape">
              <a:avLst/>
            </a:prstTxWarp>
          </a:bodyPr>
          <a:lstStyle/>
          <a:p>
            <a:endParaRPr lang="en-US"/>
          </a:p>
        </p:txBody>
      </p:sp>
      <p:grpSp>
        <p:nvGrpSpPr>
          <p:cNvPr id="7" name="Group 6"/>
          <p:cNvGrpSpPr/>
          <p:nvPr/>
        </p:nvGrpSpPr>
        <p:grpSpPr bwMode="gray">
          <a:xfrm>
            <a:off x="-81496" y="-96819"/>
            <a:ext cx="6867967" cy="9971289"/>
            <a:chOff x="-86754" y="-101364"/>
            <a:chExt cx="7311008" cy="10439250"/>
          </a:xfrm>
        </p:grpSpPr>
        <p:cxnSp>
          <p:nvCxnSpPr>
            <p:cNvPr id="8" name="Straight Connector 7"/>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89154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839264" y="485229"/>
            <a:ext cx="4017279" cy="339435"/>
          </a:xfrm>
          <a:prstGeom prst="rect">
            <a:avLst/>
          </a:prstGeom>
        </p:spPr>
        <p:txBody>
          <a:bodyPr vert="horz" lIns="0" tIns="0" rIns="0" bIns="0" rtlCol="0"/>
          <a:lstStyle>
            <a:lvl1pPr algn="l">
              <a:defRPr sz="1100" b="1"/>
            </a:lvl1pPr>
          </a:lstStyle>
          <a:p>
            <a:endParaRPr lang="en-US" dirty="0"/>
          </a:p>
        </p:txBody>
      </p:sp>
      <p:sp>
        <p:nvSpPr>
          <p:cNvPr id="3" name="Date Placeholder 2"/>
          <p:cNvSpPr>
            <a:spLocks noGrp="1"/>
          </p:cNvSpPr>
          <p:nvPr>
            <p:ph type="dt" idx="1"/>
          </p:nvPr>
        </p:nvSpPr>
        <p:spPr bwMode="gray">
          <a:xfrm>
            <a:off x="4856542" y="485229"/>
            <a:ext cx="1353226" cy="339435"/>
          </a:xfrm>
          <a:prstGeom prst="rect">
            <a:avLst/>
          </a:prstGeom>
        </p:spPr>
        <p:txBody>
          <a:bodyPr vert="horz" lIns="0" tIns="0" rIns="0" bIns="0" rtlCol="0"/>
          <a:lstStyle>
            <a:lvl1pPr algn="r">
              <a:defRPr sz="900"/>
            </a:lvl1pPr>
          </a:lstStyle>
          <a:p>
            <a:fld id="{DA30A0F7-4C0D-4162-8B62-872A0D160B8C}" type="datetimeFigureOut">
              <a:rPr lang="en-US" smtClean="0"/>
              <a:pPr/>
              <a:t>2/3/2022</a:t>
            </a:fld>
            <a:endParaRPr lang="en-US"/>
          </a:p>
        </p:txBody>
      </p:sp>
      <p:sp>
        <p:nvSpPr>
          <p:cNvPr id="4" name="Slide Image Placeholder 3"/>
          <p:cNvSpPr>
            <a:spLocks noGrp="1" noRot="1" noChangeAspect="1"/>
          </p:cNvSpPr>
          <p:nvPr>
            <p:ph type="sldImg" idx="2"/>
          </p:nvPr>
        </p:nvSpPr>
        <p:spPr bwMode="gray">
          <a:xfrm>
            <a:off x="828720" y="835978"/>
            <a:ext cx="5375259" cy="3024370"/>
          </a:xfrm>
          <a:prstGeom prst="rect">
            <a:avLst/>
          </a:prstGeom>
          <a:noFill/>
          <a:ln w="12700">
            <a:solidFill>
              <a:prstClr val="black"/>
            </a:solidFill>
          </a:ln>
        </p:spPr>
        <p:txBody>
          <a:bodyPr vert="horz" lIns="93959" tIns="46978" rIns="93959" bIns="46978" rtlCol="0" anchor="ctr"/>
          <a:lstStyle/>
          <a:p>
            <a:endParaRPr lang="en-US"/>
          </a:p>
        </p:txBody>
      </p:sp>
      <p:sp>
        <p:nvSpPr>
          <p:cNvPr id="5" name="Notes Placeholder 4"/>
          <p:cNvSpPr>
            <a:spLocks noGrp="1"/>
          </p:cNvSpPr>
          <p:nvPr>
            <p:ph type="body" sz="quarter" idx="3"/>
          </p:nvPr>
        </p:nvSpPr>
        <p:spPr bwMode="gray">
          <a:xfrm>
            <a:off x="832145" y="4082762"/>
            <a:ext cx="5371834" cy="4828754"/>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1744820" y="9082860"/>
            <a:ext cx="2536746" cy="202478"/>
          </a:xfrm>
          <a:prstGeom prst="rect">
            <a:avLst/>
          </a:prstGeom>
        </p:spPr>
        <p:txBody>
          <a:bodyPr vert="horz" lIns="0" tIns="0" rIns="0" bIns="0" rtlCol="0" anchor="b"/>
          <a:lstStyle>
            <a:lvl1pPr algn="l">
              <a:defRPr sz="900"/>
            </a:lvl1pPr>
          </a:lstStyle>
          <a:p>
            <a:endParaRPr lang="en-US" dirty="0"/>
          </a:p>
        </p:txBody>
      </p:sp>
      <p:sp>
        <p:nvSpPr>
          <p:cNvPr id="7" name="Slide Number Placeholder 6"/>
          <p:cNvSpPr>
            <a:spLocks noGrp="1"/>
          </p:cNvSpPr>
          <p:nvPr>
            <p:ph type="sldNum" sz="quarter" idx="5"/>
          </p:nvPr>
        </p:nvSpPr>
        <p:spPr bwMode="gray">
          <a:xfrm>
            <a:off x="832145" y="9084708"/>
            <a:ext cx="912676" cy="200630"/>
          </a:xfrm>
          <a:prstGeom prst="rect">
            <a:avLst/>
          </a:prstGeom>
        </p:spPr>
        <p:txBody>
          <a:bodyPr vert="horz" lIns="0" tIns="0" rIns="0" bIns="0" rtlCol="0" anchor="b"/>
          <a:lstStyle>
            <a:lvl1pPr algn="l">
              <a:defRPr sz="900"/>
            </a:lvl1pPr>
          </a:lstStyle>
          <a:p>
            <a:r>
              <a:rPr lang="en-US" dirty="0"/>
              <a:t>Page </a:t>
            </a:r>
            <a:fld id="{B936D8B3-C460-44AC-B9A0-2EFBD5732908}" type="slidenum">
              <a:rPr lang="en-US" smtClean="0"/>
              <a:pPr/>
              <a:t>‹Nr.›</a:t>
            </a:fld>
            <a:endParaRPr lang="en-US" dirty="0"/>
          </a:p>
        </p:txBody>
      </p:sp>
      <p:sp>
        <p:nvSpPr>
          <p:cNvPr id="8" name="Freeform 2"/>
          <p:cNvSpPr>
            <a:spLocks noEditPoints="1"/>
          </p:cNvSpPr>
          <p:nvPr/>
        </p:nvSpPr>
        <p:spPr bwMode="gray">
          <a:xfrm>
            <a:off x="5228495" y="9078311"/>
            <a:ext cx="981275" cy="213803"/>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6741" tIns="43372" rIns="86741" bIns="43372" numCol="1" anchor="t" anchorCtr="0" compatLnSpc="1">
            <a:prstTxWarp prst="textNoShape">
              <a:avLst/>
            </a:prstTxWarp>
          </a:bodyPr>
          <a:lstStyle/>
          <a:p>
            <a:endParaRPr lang="en-US"/>
          </a:p>
        </p:txBody>
      </p:sp>
      <p:grpSp>
        <p:nvGrpSpPr>
          <p:cNvPr id="39" name="Group 38"/>
          <p:cNvGrpSpPr/>
          <p:nvPr/>
        </p:nvGrpSpPr>
        <p:grpSpPr bwMode="gray">
          <a:xfrm>
            <a:off x="-81496" y="-96819"/>
            <a:ext cx="6867967" cy="9971289"/>
            <a:chOff x="-86754" y="-101364"/>
            <a:chExt cx="7311008" cy="10439250"/>
          </a:xfrm>
        </p:grpSpPr>
        <p:cxnSp>
          <p:nvCxnSpPr>
            <p:cNvPr id="10" name="Straight Connector 9"/>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86754" y="4274367"/>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86754" y="4057433"/>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a:off x="7152246" y="4274367"/>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gray">
            <a:xfrm>
              <a:off x="7152246" y="4057433"/>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24782"/>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spcBef>
        <a:spcPts val="300"/>
      </a:spcBef>
      <a:spcAft>
        <a:spcPts val="200"/>
      </a:spcAft>
      <a:defRPr sz="1200" kern="1200">
        <a:solidFill>
          <a:schemeClr val="tx1"/>
        </a:solidFill>
        <a:latin typeface="+mn-lt"/>
        <a:ea typeface="+mn-ea"/>
        <a:cs typeface="+mn-cs"/>
      </a:defRPr>
    </a:lvl1pPr>
    <a:lvl2pPr marL="0" indent="0" algn="l" defTabSz="914400" rtl="0" eaLnBrk="1" latinLnBrk="0" hangingPunct="1">
      <a:spcBef>
        <a:spcPts val="300"/>
      </a:spcBef>
      <a:spcAft>
        <a:spcPts val="200"/>
      </a:spcAft>
      <a:defRPr sz="1200" b="1" kern="1200">
        <a:solidFill>
          <a:schemeClr val="tx1"/>
        </a:solidFill>
        <a:latin typeface="+mn-lt"/>
        <a:ea typeface="+mn-ea"/>
        <a:cs typeface="+mn-cs"/>
      </a:defRPr>
    </a:lvl2pPr>
    <a:lvl3pPr marL="180000" indent="-180000" algn="l" defTabSz="914400" rtl="0" eaLnBrk="1" latinLnBrk="0" hangingPunct="1">
      <a:spcBef>
        <a:spcPts val="300"/>
      </a:spcBef>
      <a:spcAft>
        <a:spcPts val="200"/>
      </a:spcAft>
      <a:buClr>
        <a:schemeClr val="bg2"/>
      </a:buClr>
      <a:buFont typeface="Wingdings" pitchFamily="2" charset="2"/>
      <a:buChar char="§"/>
      <a:defRPr sz="1200" kern="1200">
        <a:solidFill>
          <a:schemeClr val="tx1"/>
        </a:solidFill>
        <a:latin typeface="+mn-lt"/>
        <a:ea typeface="+mn-ea"/>
        <a:cs typeface="+mn-cs"/>
      </a:defRPr>
    </a:lvl3pPr>
    <a:lvl4pPr marL="36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4pPr>
    <a:lvl5pPr marL="54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5pPr>
    <a:lvl6pPr marL="216000" indent="-216000" algn="l" defTabSz="914400" rtl="0" eaLnBrk="1" latinLnBrk="0" hangingPunct="1">
      <a:spcBef>
        <a:spcPts val="300"/>
      </a:spcBef>
      <a:spcAft>
        <a:spcPts val="200"/>
      </a:spcAft>
      <a:buClr>
        <a:schemeClr val="bg2"/>
      </a:buClr>
      <a:buSzPct val="80000"/>
      <a:buFont typeface="+mj-lt"/>
      <a:buAutoNum type="arabicPeriod"/>
      <a:defRPr sz="1200" kern="1200">
        <a:solidFill>
          <a:schemeClr val="tx1"/>
        </a:solidFill>
        <a:latin typeface="+mn-lt"/>
        <a:ea typeface="+mn-ea"/>
        <a:cs typeface="+mn-cs"/>
      </a:defRPr>
    </a:lvl6pPr>
    <a:lvl7pPr marL="0" indent="0" algn="l" defTabSz="914400" rtl="0" eaLnBrk="1" latinLnBrk="0" hangingPunct="1">
      <a:spcBef>
        <a:spcPts val="300"/>
      </a:spcBef>
      <a:spcAft>
        <a:spcPts val="200"/>
      </a:spcAft>
      <a:defRPr sz="1200" b="1" kern="1200">
        <a:solidFill>
          <a:schemeClr val="bg2"/>
        </a:solidFill>
        <a:latin typeface="+mn-lt"/>
        <a:ea typeface="+mn-ea"/>
        <a:cs typeface="+mn-cs"/>
      </a:defRPr>
    </a:lvl7pPr>
    <a:lvl8pPr marL="0" indent="0" algn="l" defTabSz="914400" rtl="0" eaLnBrk="1" latinLnBrk="0" hangingPunct="1">
      <a:spcBef>
        <a:spcPts val="300"/>
      </a:spcBef>
      <a:spcAft>
        <a:spcPts val="200"/>
      </a:spcAft>
      <a:defRPr sz="1050" kern="1200">
        <a:solidFill>
          <a:schemeClr val="tx1"/>
        </a:solidFill>
        <a:latin typeface="+mn-lt"/>
        <a:ea typeface="+mn-ea"/>
        <a:cs typeface="+mn-cs"/>
      </a:defRPr>
    </a:lvl8pPr>
    <a:lvl9pPr marL="0" indent="0" algn="l" defTabSz="914400" rtl="0" eaLnBrk="1" latinLnBrk="0" hangingPunct="1">
      <a:spcBef>
        <a:spcPts val="300"/>
      </a:spcBef>
      <a:spcAft>
        <a:spcPts val="200"/>
      </a:spcAft>
      <a:defRPr sz="10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p:cNvSpPr>
            <a:spLocks noGrp="1"/>
          </p:cNvSpPr>
          <p:nvPr>
            <p:ph type="sldNum" sz="quarter" idx="10"/>
          </p:nvPr>
        </p:nvSpPr>
        <p:spPr/>
        <p:txBody>
          <a:bodyPr/>
          <a:lstStyle/>
          <a:p>
            <a:r>
              <a:rPr lang="en-US"/>
              <a:t>Page </a:t>
            </a:r>
            <a:fld id="{B936D8B3-C460-44AC-B9A0-2EFBD5732908}" type="slidenum">
              <a:rPr lang="en-US" smtClean="0"/>
              <a:pPr/>
              <a:t>1</a:t>
            </a:fld>
            <a:endParaRPr lang="en-US" dirty="0"/>
          </a:p>
        </p:txBody>
      </p:sp>
      <p:sp>
        <p:nvSpPr>
          <p:cNvPr id="3" name="Folienbildplatzhalter 2"/>
          <p:cNvSpPr>
            <a:spLocks noGrp="1" noRot="1" noChangeAspect="1"/>
          </p:cNvSpPr>
          <p:nvPr>
            <p:ph type="sldImg"/>
          </p:nvPr>
        </p:nvSpPr>
        <p:spPr>
          <a:xfrm>
            <a:off x="828675" y="836613"/>
            <a:ext cx="5375275" cy="3024187"/>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2555579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2</a:t>
            </a:fld>
            <a:endParaRPr lang="en-US" dirty="0"/>
          </a:p>
        </p:txBody>
      </p:sp>
      <p:sp>
        <p:nvSpPr>
          <p:cNvPr id="3" name="Folienbildplatzhalter 2"/>
          <p:cNvSpPr>
            <a:spLocks noGrp="1" noRot="1" noChangeAspect="1"/>
          </p:cNvSpPr>
          <p:nvPr>
            <p:ph type="sldImg"/>
          </p:nvPr>
        </p:nvSpPr>
        <p:spPr>
          <a:xfrm>
            <a:off x="828675" y="836613"/>
            <a:ext cx="5375275" cy="3024187"/>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3875542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3</a:t>
            </a:fld>
            <a:endParaRPr lang="en-US" dirty="0"/>
          </a:p>
        </p:txBody>
      </p:sp>
      <p:sp>
        <p:nvSpPr>
          <p:cNvPr id="3" name="Folienbildplatzhalter 2"/>
          <p:cNvSpPr>
            <a:spLocks noGrp="1" noRot="1" noChangeAspect="1"/>
          </p:cNvSpPr>
          <p:nvPr>
            <p:ph type="sldImg"/>
          </p:nvPr>
        </p:nvSpPr>
        <p:spPr>
          <a:xfrm>
            <a:off x="828675" y="836613"/>
            <a:ext cx="5375275" cy="3024187"/>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2774970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4</a:t>
            </a:fld>
            <a:endParaRPr lang="en-US" dirty="0"/>
          </a:p>
        </p:txBody>
      </p:sp>
      <p:sp>
        <p:nvSpPr>
          <p:cNvPr id="3" name="Folienbildplatzhalter 2"/>
          <p:cNvSpPr>
            <a:spLocks noGrp="1" noRot="1" noChangeAspect="1"/>
          </p:cNvSpPr>
          <p:nvPr>
            <p:ph type="sldImg"/>
          </p:nvPr>
        </p:nvSpPr>
        <p:spPr>
          <a:xfrm>
            <a:off x="828675" y="836613"/>
            <a:ext cx="5375275" cy="3024187"/>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267856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5</a:t>
            </a:fld>
            <a:endParaRPr lang="en-US" dirty="0"/>
          </a:p>
        </p:txBody>
      </p:sp>
      <p:sp>
        <p:nvSpPr>
          <p:cNvPr id="3" name="Folienbildplatzhalter 2"/>
          <p:cNvSpPr>
            <a:spLocks noGrp="1" noRot="1" noChangeAspect="1"/>
          </p:cNvSpPr>
          <p:nvPr>
            <p:ph type="sldImg"/>
          </p:nvPr>
        </p:nvSpPr>
        <p:spPr>
          <a:xfrm>
            <a:off x="828675" y="836613"/>
            <a:ext cx="5375275" cy="3024187"/>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1544080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6</a:t>
            </a:fld>
            <a:endParaRPr lang="en-US" dirty="0"/>
          </a:p>
        </p:txBody>
      </p:sp>
      <p:sp>
        <p:nvSpPr>
          <p:cNvPr id="3" name="Folienbildplatzhalter 2"/>
          <p:cNvSpPr>
            <a:spLocks noGrp="1" noRot="1" noChangeAspect="1"/>
          </p:cNvSpPr>
          <p:nvPr>
            <p:ph type="sldImg"/>
          </p:nvPr>
        </p:nvSpPr>
        <p:spPr>
          <a:xfrm>
            <a:off x="828675" y="836613"/>
            <a:ext cx="5375275" cy="3024187"/>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33730021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7</a:t>
            </a:fld>
            <a:endParaRPr lang="en-US" dirty="0"/>
          </a:p>
        </p:txBody>
      </p:sp>
      <p:sp>
        <p:nvSpPr>
          <p:cNvPr id="3" name="Folienbildplatzhalter 2"/>
          <p:cNvSpPr>
            <a:spLocks noGrp="1" noRot="1" noChangeAspect="1"/>
          </p:cNvSpPr>
          <p:nvPr>
            <p:ph type="sldImg"/>
          </p:nvPr>
        </p:nvSpPr>
        <p:spPr>
          <a:xfrm>
            <a:off x="828675" y="836613"/>
            <a:ext cx="5375275" cy="3024187"/>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1559101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a:t>Page </a:t>
            </a:r>
            <a:fld id="{B936D8B3-C460-44AC-B9A0-2EFBD5732908}" type="slidenum">
              <a:rPr lang="en-US" smtClean="0"/>
              <a:pPr/>
              <a:t>8</a:t>
            </a:fld>
            <a:endParaRPr lang="en-US" dirty="0"/>
          </a:p>
        </p:txBody>
      </p:sp>
      <p:sp>
        <p:nvSpPr>
          <p:cNvPr id="3" name="Folienbildplatzhalter 2"/>
          <p:cNvSpPr>
            <a:spLocks noGrp="1" noRot="1" noChangeAspect="1"/>
          </p:cNvSpPr>
          <p:nvPr>
            <p:ph type="sldImg"/>
          </p:nvPr>
        </p:nvSpPr>
        <p:spPr>
          <a:xfrm>
            <a:off x="828675" y="836613"/>
            <a:ext cx="5375275" cy="3024187"/>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3434062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28675" y="836613"/>
            <a:ext cx="5375275" cy="30241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en-US"/>
              <a:t>Page </a:t>
            </a:r>
            <a:fld id="{B936D8B3-C460-44AC-B9A0-2EFBD5732908}" type="slidenum">
              <a:rPr lang="en-US" smtClean="0"/>
              <a:pPr/>
              <a:t>13</a:t>
            </a:fld>
            <a:endParaRPr lang="en-US" dirty="0"/>
          </a:p>
        </p:txBody>
      </p:sp>
    </p:spTree>
    <p:extLst>
      <p:ext uri="{BB962C8B-B14F-4D97-AF65-F5344CB8AC3E}">
        <p14:creationId xmlns:p14="http://schemas.microsoft.com/office/powerpoint/2010/main" val="2729336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a:t>
            </a:r>
            <a:br>
              <a:rPr lang="en-US" noProof="0" dirty="0"/>
            </a:br>
            <a:r>
              <a:rPr lang="en-US" noProof="0" dirty="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8" name="Graphic 8">
            <a:extLst>
              <a:ext uri="{FF2B5EF4-FFF2-40B4-BE49-F238E27FC236}">
                <a16:creationId xmlns:a16="http://schemas.microsoft.com/office/drawing/2014/main" id="{59FE6908-14D6-464F-A715-A59C99EC455D}"/>
              </a:ext>
            </a:extLst>
          </p:cNvPr>
          <p:cNvSpPr>
            <a:spLocks/>
          </p:cNvSpPr>
          <p:nvPr userDrawn="1"/>
        </p:nvSpPr>
        <p:spPr>
          <a:xfrm>
            <a:off x="7885113" y="1462533"/>
            <a:ext cx="900112" cy="388198"/>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
        <p:nvSpPr>
          <p:cNvPr id="9" name="Graphic 3">
            <a:extLst>
              <a:ext uri="{FF2B5EF4-FFF2-40B4-BE49-F238E27FC236}">
                <a16:creationId xmlns:a16="http://schemas.microsoft.com/office/drawing/2014/main" id="{AEF59BBD-253E-43E2-ADD0-ADCA4B2313F3}"/>
              </a:ext>
            </a:extLst>
          </p:cNvPr>
          <p:cNvSpPr>
            <a:spLocks/>
          </p:cNvSpPr>
          <p:nvPr userDrawn="1"/>
        </p:nvSpPr>
        <p:spPr>
          <a:xfrm>
            <a:off x="7885261" y="877971"/>
            <a:ext cx="899751" cy="388042"/>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grpSp>
        <p:nvGrpSpPr>
          <p:cNvPr id="10" name="Graphic 10">
            <a:extLst>
              <a:ext uri="{FF2B5EF4-FFF2-40B4-BE49-F238E27FC236}">
                <a16:creationId xmlns:a16="http://schemas.microsoft.com/office/drawing/2014/main" id="{BBB102B7-CC7D-4ACB-BECD-A2BE79C44BCB}"/>
              </a:ext>
            </a:extLst>
          </p:cNvPr>
          <p:cNvGrpSpPr>
            <a:grpSpLocks/>
          </p:cNvGrpSpPr>
          <p:nvPr userDrawn="1"/>
        </p:nvGrpSpPr>
        <p:grpSpPr>
          <a:xfrm>
            <a:off x="7885113" y="2042452"/>
            <a:ext cx="900112" cy="354419"/>
            <a:chOff x="3810000" y="2271712"/>
            <a:chExt cx="1524000" cy="600075"/>
          </a:xfrm>
        </p:grpSpPr>
        <p:sp>
          <p:nvSpPr>
            <p:cNvPr id="11" name="Freeform: Shape 10">
              <a:extLst>
                <a:ext uri="{FF2B5EF4-FFF2-40B4-BE49-F238E27FC236}">
                  <a16:creationId xmlns:a16="http://schemas.microsoft.com/office/drawing/2014/main" id="{2EC70BFA-8355-4C8E-9D37-002849D6A641}"/>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DC3D2E96-695B-469C-92B4-8BFD7CDCECDA}"/>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68121361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400174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20618924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dirty="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3" name="Title 2"/>
          <p:cNvSpPr>
            <a:spLocks noGrp="1"/>
          </p:cNvSpPr>
          <p:nvPr>
            <p:ph type="title"/>
          </p:nvPr>
        </p:nvSpPr>
        <p:spPr/>
        <p:txBody>
          <a:bodyPr/>
          <a:lstStyle/>
          <a:p>
            <a:r>
              <a:rPr lang="de-DE"/>
              <a:t>Mastertitelformat bearbeiten</a:t>
            </a:r>
            <a:endParaRPr lang="en-US"/>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Tree>
    <p:extLst>
      <p:ext uri="{BB962C8B-B14F-4D97-AF65-F5344CB8AC3E}">
        <p14:creationId xmlns:p14="http://schemas.microsoft.com/office/powerpoint/2010/main" val="4839933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5"/>
          </p:nvPr>
        </p:nvSpPr>
        <p:spPr/>
        <p:txBody>
          <a:bodyPr/>
          <a:lstStyle/>
          <a:p>
            <a:endParaRPr lang="en-US" dirty="0"/>
          </a:p>
        </p:txBody>
      </p:sp>
      <p:sp>
        <p:nvSpPr>
          <p:cNvPr id="10" name="Footer Placeholder 9"/>
          <p:cNvSpPr>
            <a:spLocks noGrp="1"/>
          </p:cNvSpPr>
          <p:nvPr>
            <p:ph type="ftr" sz="quarter" idx="16"/>
          </p:nvPr>
        </p:nvSpPr>
        <p:spPr/>
        <p:txBody>
          <a:bodyPr/>
          <a:lstStyle/>
          <a:p>
            <a:r>
              <a:rPr lang="en-US"/>
              <a:t>File Name</a:t>
            </a:r>
            <a:endParaRPr lang="en-US" dirty="0"/>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33667287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dirty="0"/>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765134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3" name="Title 2"/>
          <p:cNvSpPr>
            <a:spLocks noGrp="1"/>
          </p:cNvSpPr>
          <p:nvPr>
            <p:ph type="title"/>
          </p:nvPr>
        </p:nvSpPr>
        <p:spPr/>
        <p:txBody>
          <a:bodyPr/>
          <a:lstStyle/>
          <a:p>
            <a:r>
              <a:rPr lang="de-DE"/>
              <a:t>Mastertitelformat bearbeiten</a:t>
            </a:r>
            <a:endParaRPr lang="en-US"/>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55035284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dirty="0"/>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25599469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dirty="0"/>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6571040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3" name="Title 2"/>
          <p:cNvSpPr>
            <a:spLocks noGrp="1"/>
          </p:cNvSpPr>
          <p:nvPr>
            <p:ph type="title"/>
          </p:nvPr>
        </p:nvSpPr>
        <p:spPr/>
        <p:txBody>
          <a:bodyPr/>
          <a:lstStyle/>
          <a:p>
            <a:r>
              <a:rPr lang="de-DE"/>
              <a:t>Mastertitelformat bearbeiten</a:t>
            </a:r>
            <a:endParaRPr lang="en-US"/>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dirty="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dirty="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dirty="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6569465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9" name="Title 8"/>
          <p:cNvSpPr>
            <a:spLocks noGrp="1"/>
          </p:cNvSpPr>
          <p:nvPr>
            <p:ph type="title"/>
          </p:nvPr>
        </p:nvSpPr>
        <p:spPr/>
        <p:txBody>
          <a:bodyPr/>
          <a:lstStyle/>
          <a:p>
            <a:r>
              <a:rPr lang="de-DE"/>
              <a:t>Mastertitelformat bearbeiten</a:t>
            </a:r>
            <a:endParaRPr lang="en-US" dirty="0"/>
          </a:p>
        </p:txBody>
      </p:sp>
    </p:spTree>
    <p:extLst>
      <p:ext uri="{BB962C8B-B14F-4D97-AF65-F5344CB8AC3E}">
        <p14:creationId xmlns:p14="http://schemas.microsoft.com/office/powerpoint/2010/main" val="72377394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subtitle of the presentation</a:t>
            </a:r>
          </a:p>
        </p:txBody>
      </p:sp>
    </p:spTree>
    <p:extLst>
      <p:ext uri="{BB962C8B-B14F-4D97-AF65-F5344CB8AC3E}">
        <p14:creationId xmlns:p14="http://schemas.microsoft.com/office/powerpoint/2010/main" val="417547944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 with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6" name="Textfeld 5">
            <a:extLst>
              <a:ext uri="{FF2B5EF4-FFF2-40B4-BE49-F238E27FC236}">
                <a16:creationId xmlns:a16="http://schemas.microsoft.com/office/drawing/2014/main" id="{AE42BF1B-F344-4E1F-86A4-5DD36FAA68ED}"/>
              </a:ext>
            </a:extLst>
          </p:cNvPr>
          <p:cNvSpPr txBox="1"/>
          <p:nvPr userDrawn="1"/>
        </p:nvSpPr>
        <p:spPr>
          <a:xfrm>
            <a:off x="358775" y="889831"/>
            <a:ext cx="8426450" cy="1008109"/>
          </a:xfrm>
          <a:prstGeom prst="rect">
            <a:avLst/>
          </a:prstGeom>
          <a:noFill/>
        </p:spPr>
        <p:txBody>
          <a:bodyPr wrap="square" lIns="0" tIns="0" rIns="0" bIns="0" rtlCol="0">
            <a:noAutofit/>
          </a:bodyPr>
          <a:lstStyle/>
          <a:p>
            <a:pPr marL="0" indent="0" algn="ctr">
              <a:spcBef>
                <a:spcPts val="300"/>
              </a:spcBef>
              <a:spcAft>
                <a:spcPts val="300"/>
              </a:spcAft>
              <a:buClr>
                <a:schemeClr val="bg2"/>
              </a:buClr>
              <a:buFont typeface="Wingdings" pitchFamily="2" charset="2"/>
              <a:buNone/>
            </a:pPr>
            <a:r>
              <a:rPr lang="de-DE" sz="4000" b="1" noProof="1">
                <a:solidFill>
                  <a:schemeClr val="bg2"/>
                </a:solidFill>
              </a:rPr>
              <a:t>Thank you.</a:t>
            </a:r>
          </a:p>
        </p:txBody>
      </p:sp>
      <p:sp>
        <p:nvSpPr>
          <p:cNvPr id="4" name="Graphic 8">
            <a:extLst>
              <a:ext uri="{FF2B5EF4-FFF2-40B4-BE49-F238E27FC236}">
                <a16:creationId xmlns:a16="http://schemas.microsoft.com/office/drawing/2014/main" id="{77DED773-D0E2-4AC5-B706-2702351C9044}"/>
              </a:ext>
            </a:extLst>
          </p:cNvPr>
          <p:cNvSpPr>
            <a:spLocks/>
          </p:cNvSpPr>
          <p:nvPr userDrawn="1"/>
        </p:nvSpPr>
        <p:spPr>
          <a:xfrm>
            <a:off x="7885113" y="1462533"/>
            <a:ext cx="900112" cy="388198"/>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
        <p:nvSpPr>
          <p:cNvPr id="5" name="Graphic 3">
            <a:extLst>
              <a:ext uri="{FF2B5EF4-FFF2-40B4-BE49-F238E27FC236}">
                <a16:creationId xmlns:a16="http://schemas.microsoft.com/office/drawing/2014/main" id="{5BDFCFB2-3DAA-4C43-86AB-2DE461FE4997}"/>
              </a:ext>
            </a:extLst>
          </p:cNvPr>
          <p:cNvSpPr>
            <a:spLocks/>
          </p:cNvSpPr>
          <p:nvPr userDrawn="1"/>
        </p:nvSpPr>
        <p:spPr>
          <a:xfrm>
            <a:off x="7885261" y="877971"/>
            <a:ext cx="899751" cy="388042"/>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grpSp>
        <p:nvGrpSpPr>
          <p:cNvPr id="8" name="Graphic 10">
            <a:extLst>
              <a:ext uri="{FF2B5EF4-FFF2-40B4-BE49-F238E27FC236}">
                <a16:creationId xmlns:a16="http://schemas.microsoft.com/office/drawing/2014/main" id="{D3907917-3DC6-4B5E-A744-821A3795843E}"/>
              </a:ext>
            </a:extLst>
          </p:cNvPr>
          <p:cNvGrpSpPr>
            <a:grpSpLocks/>
          </p:cNvGrpSpPr>
          <p:nvPr userDrawn="1"/>
        </p:nvGrpSpPr>
        <p:grpSpPr>
          <a:xfrm>
            <a:off x="7885113" y="2042452"/>
            <a:ext cx="900112" cy="354419"/>
            <a:chOff x="3810000" y="2271712"/>
            <a:chExt cx="1524000" cy="600075"/>
          </a:xfrm>
        </p:grpSpPr>
        <p:sp>
          <p:nvSpPr>
            <p:cNvPr id="9" name="Freeform: Shape 10">
              <a:extLst>
                <a:ext uri="{FF2B5EF4-FFF2-40B4-BE49-F238E27FC236}">
                  <a16:creationId xmlns:a16="http://schemas.microsoft.com/office/drawing/2014/main" id="{F278774A-54F3-48C4-AC71-E4417437DD0F}"/>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0" name="Freeform: Shape 11">
              <a:extLst>
                <a:ext uri="{FF2B5EF4-FFF2-40B4-BE49-F238E27FC236}">
                  <a16:creationId xmlns:a16="http://schemas.microsoft.com/office/drawing/2014/main" id="{57BBBB13-FAD3-4ED7-A1BC-384BD34F844F}"/>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83080535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 Contac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DEA2027-55E0-42C6-ABC4-798A166E632C}"/>
              </a:ext>
            </a:extLst>
          </p:cNvPr>
          <p:cNvSpPr>
            <a:spLocks noGrp="1"/>
          </p:cNvSpPr>
          <p:nvPr>
            <p:ph type="pic" sz="quarter" idx="11"/>
          </p:nvPr>
        </p:nvSpPr>
        <p:spPr bwMode="gray">
          <a:xfrm>
            <a:off x="358598" y="1059582"/>
            <a:ext cx="1060493" cy="1515096"/>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Box 3">
            <a:extLst>
              <a:ext uri="{FF2B5EF4-FFF2-40B4-BE49-F238E27FC236}">
                <a16:creationId xmlns:a16="http://schemas.microsoft.com/office/drawing/2014/main" id="{DCFC9203-754B-4F3D-9C41-DE08F57D01AB}"/>
              </a:ext>
            </a:extLst>
          </p:cNvPr>
          <p:cNvSpPr txBox="1"/>
          <p:nvPr userDrawn="1"/>
        </p:nvSpPr>
        <p:spPr bwMode="gray">
          <a:xfrm>
            <a:off x="358598" y="411164"/>
            <a:ext cx="4105275" cy="468312"/>
          </a:xfrm>
          <a:prstGeom prst="rect">
            <a:avLst/>
          </a:prstGeom>
          <a:noFill/>
        </p:spPr>
        <p:txBody>
          <a:bodyPr wrap="square" lIns="0" tIns="144000" rIns="0" bIns="0" rtlCol="0">
            <a:noAutofit/>
          </a:bodyPr>
          <a:lstStyle/>
          <a:p>
            <a:pPr>
              <a:lnSpc>
                <a:spcPct val="90000"/>
              </a:lnSpc>
            </a:pPr>
            <a:r>
              <a:rPr lang="en-US" sz="2800" b="1" noProof="0" dirty="0">
                <a:solidFill>
                  <a:schemeClr val="bg2"/>
                </a:solidFill>
                <a:latin typeface="+mn-lt"/>
              </a:rPr>
              <a:t>Thank you.</a:t>
            </a:r>
          </a:p>
        </p:txBody>
      </p:sp>
      <p:sp>
        <p:nvSpPr>
          <p:cNvPr id="12" name="Textplatzhalter 9">
            <a:extLst>
              <a:ext uri="{FF2B5EF4-FFF2-40B4-BE49-F238E27FC236}">
                <a16:creationId xmlns:a16="http://schemas.microsoft.com/office/drawing/2014/main" id="{49B59AFC-FB01-412B-B058-68ACE717C8BA}"/>
              </a:ext>
            </a:extLst>
          </p:cNvPr>
          <p:cNvSpPr>
            <a:spLocks noGrp="1"/>
          </p:cNvSpPr>
          <p:nvPr>
            <p:ph type="body" sz="quarter" idx="12" hasCustomPrompt="1"/>
          </p:nvPr>
        </p:nvSpPr>
        <p:spPr bwMode="gray">
          <a:xfrm>
            <a:off x="1634991" y="1059582"/>
            <a:ext cx="5385281" cy="165663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defRPr/>
            </a:lvl8pPr>
            <a:lvl9pPr>
              <a:lnSpc>
                <a:spcPct val="90000"/>
              </a:lnSpc>
              <a:defRPr/>
            </a:lvl9p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6" name="Graphic 8">
            <a:extLst>
              <a:ext uri="{FF2B5EF4-FFF2-40B4-BE49-F238E27FC236}">
                <a16:creationId xmlns:a16="http://schemas.microsoft.com/office/drawing/2014/main" id="{BBABF996-D0E3-45AA-A4D3-DE5E7BBA1003}"/>
              </a:ext>
            </a:extLst>
          </p:cNvPr>
          <p:cNvSpPr>
            <a:spLocks/>
          </p:cNvSpPr>
          <p:nvPr userDrawn="1"/>
        </p:nvSpPr>
        <p:spPr>
          <a:xfrm>
            <a:off x="7885113" y="1462533"/>
            <a:ext cx="900112" cy="388198"/>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
        <p:nvSpPr>
          <p:cNvPr id="8" name="Graphic 3">
            <a:extLst>
              <a:ext uri="{FF2B5EF4-FFF2-40B4-BE49-F238E27FC236}">
                <a16:creationId xmlns:a16="http://schemas.microsoft.com/office/drawing/2014/main" id="{CBE35CCD-E924-4190-AEFA-2A53469D1AB4}"/>
              </a:ext>
            </a:extLst>
          </p:cNvPr>
          <p:cNvSpPr>
            <a:spLocks/>
          </p:cNvSpPr>
          <p:nvPr userDrawn="1"/>
        </p:nvSpPr>
        <p:spPr>
          <a:xfrm>
            <a:off x="7885261" y="877971"/>
            <a:ext cx="899751" cy="388042"/>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grpSp>
        <p:nvGrpSpPr>
          <p:cNvPr id="9" name="Graphic 10">
            <a:extLst>
              <a:ext uri="{FF2B5EF4-FFF2-40B4-BE49-F238E27FC236}">
                <a16:creationId xmlns:a16="http://schemas.microsoft.com/office/drawing/2014/main" id="{B55D2596-7F72-4DA9-A524-F20BECDEDA56}"/>
              </a:ext>
            </a:extLst>
          </p:cNvPr>
          <p:cNvGrpSpPr>
            <a:grpSpLocks/>
          </p:cNvGrpSpPr>
          <p:nvPr userDrawn="1"/>
        </p:nvGrpSpPr>
        <p:grpSpPr>
          <a:xfrm>
            <a:off x="7885113" y="2042452"/>
            <a:ext cx="900112" cy="354419"/>
            <a:chOff x="3810000" y="2271712"/>
            <a:chExt cx="1524000" cy="600075"/>
          </a:xfrm>
        </p:grpSpPr>
        <p:sp>
          <p:nvSpPr>
            <p:cNvPr id="13" name="Freeform: Shape 10">
              <a:extLst>
                <a:ext uri="{FF2B5EF4-FFF2-40B4-BE49-F238E27FC236}">
                  <a16:creationId xmlns:a16="http://schemas.microsoft.com/office/drawing/2014/main" id="{2A30AFA5-7E78-42F6-A674-6F06668F5857}"/>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4" name="Freeform: Shape 11">
              <a:extLst>
                <a:ext uri="{FF2B5EF4-FFF2-40B4-BE49-F238E27FC236}">
                  <a16:creationId xmlns:a16="http://schemas.microsoft.com/office/drawing/2014/main" id="{2447903D-F379-42B5-B7D7-B7F00347297E}"/>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2976473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Explanations 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the slide.</a:t>
            </a:r>
          </a:p>
          <a:p>
            <a:pPr algn="l">
              <a:lnSpc>
                <a:spcPct val="90000"/>
              </a:lnSpc>
            </a:pPr>
            <a:endParaRPr lang="en-US" sz="1200" baseline="0" noProof="1">
              <a:solidFill>
                <a:schemeClr val="tx1"/>
              </a:solidFill>
            </a:endParaRPr>
          </a:p>
          <a:p>
            <a:pPr algn="l">
              <a:lnSpc>
                <a:spcPct val="90000"/>
              </a:lnSpc>
            </a:pPr>
            <a:r>
              <a:rPr lang="de-DE" sz="1200" b="1" baseline="0" noProof="1">
                <a:solidFill>
                  <a:schemeClr val="tx1"/>
                </a:solidFill>
              </a:rPr>
              <a:t>To use these guides:</a:t>
            </a:r>
            <a:endParaRPr lang="en-US" sz="1200" b="1" baseline="0" noProof="1">
              <a:solidFill>
                <a:schemeClr val="tx1"/>
              </a:solidFill>
            </a:endParaRPr>
          </a:p>
          <a:p>
            <a:pPr algn="l">
              <a:lnSpc>
                <a:spcPct val="90000"/>
              </a:lnSpc>
            </a:pPr>
            <a:r>
              <a:rPr lang="en-US" sz="1200" b="0" baseline="0" noProof="1">
                <a:solidFill>
                  <a:schemeClr val="tx1"/>
                </a:solidFill>
              </a:rPr>
              <a:t>Click the right mouse button outside the slide and go at </a:t>
            </a:r>
            <a:r>
              <a:rPr lang="en-US" sz="1200" b="1" i="1" baseline="0" noProof="1">
                <a:solidFill>
                  <a:schemeClr val="tx1"/>
                </a:solidFill>
              </a:rPr>
              <a:t>„Grid and Guides“ </a:t>
            </a:r>
            <a:r>
              <a:rPr lang="en-US" sz="1200" b="0" i="0" baseline="0" noProof="1">
                <a:solidFill>
                  <a:schemeClr val="tx1"/>
                </a:solidFill>
              </a:rPr>
              <a:t>to</a:t>
            </a:r>
            <a:r>
              <a:rPr lang="en-US" sz="1200" b="1" i="1" baseline="0" noProof="1">
                <a:solidFill>
                  <a:schemeClr val="tx1"/>
                </a:solidFill>
              </a:rPr>
              <a:t> </a:t>
            </a:r>
            <a:r>
              <a:rPr lang="en-US" sz="1200" b="0" i="0" baseline="0" noProof="1">
                <a:solidFill>
                  <a:schemeClr val="tx1"/>
                </a:solidFill>
              </a:rPr>
              <a:t>take the same settings as you can see in the screenshot above.</a:t>
            </a:r>
          </a:p>
          <a:p>
            <a:pPr algn="l">
              <a:lnSpc>
                <a:spcPct val="90000"/>
              </a:lnSpc>
            </a:pPr>
            <a:endParaRPr lang="en-US" sz="1200" b="0" i="0" baseline="0" noProof="1">
              <a:solidFill>
                <a:schemeClr val="tx1"/>
              </a:solidFill>
            </a:endParaRPr>
          </a:p>
          <a:p>
            <a:pPr marL="0" marR="0" indent="0" algn="l" defTabSz="914400" rtl="0" eaLnBrk="1" fontAlgn="auto" latinLnBrk="0" hangingPunct="1">
              <a:lnSpc>
                <a:spcPct val="90000"/>
              </a:lnSpc>
              <a:spcBef>
                <a:spcPts val="0"/>
              </a:spcBef>
              <a:spcAft>
                <a:spcPts val="0"/>
              </a:spcAft>
              <a:buClrTx/>
              <a:buSzTx/>
              <a:buFontTx/>
              <a:buNone/>
              <a:tabLst/>
              <a:defRPr/>
            </a:pPr>
            <a:r>
              <a:rPr lang="de-DE" sz="1200" b="0" i="0" baseline="0" noProof="1">
                <a:solidFill>
                  <a:schemeClr val="tx1"/>
                </a:solidFill>
              </a:rPr>
              <a:t>Or click on </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0" i="0" baseline="0" noProof="1">
                <a:solidFill>
                  <a:schemeClr val="tx1"/>
                </a:solidFill>
              </a:rPr>
              <a:t> and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dirty="0"/>
          </a:p>
        </p:txBody>
      </p:sp>
      <p:sp>
        <p:nvSpPr>
          <p:cNvPr id="8" name="TextBox 7"/>
          <p:cNvSpPr txBox="1"/>
          <p:nvPr userDrawn="1"/>
        </p:nvSpPr>
        <p:spPr bwMode="gray">
          <a:xfrm>
            <a:off x="3240088" y="2859088"/>
            <a:ext cx="2659857"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a:t>
            </a:r>
            <a:br>
              <a:rPr lang="en-US" sz="1200" baseline="0" noProof="1">
                <a:solidFill>
                  <a:schemeClr val="tx1"/>
                </a:solidFill>
              </a:rPr>
            </a:br>
            <a:r>
              <a:rPr lang="en-US" sz="1200" baseline="0" noProof="1">
                <a:solidFill>
                  <a:schemeClr val="tx1"/>
                </a:solidFill>
              </a:rPr>
              <a:t>slide-layouts.These pre-defined layouts give you 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i="1" baseline="0" noProof="1">
                <a:solidFill>
                  <a:schemeClr val="tx1"/>
                </a:solidFill>
              </a:rPr>
              <a:t>New Slide </a:t>
            </a:r>
            <a:br>
              <a:rPr lang="en-US" sz="1200" b="1" baseline="0" noProof="1">
                <a:solidFill>
                  <a:schemeClr val="tx1"/>
                </a:solidFill>
              </a:rPr>
            </a:br>
            <a:r>
              <a:rPr lang="en-US" sz="1200" b="0" baseline="0" noProof="1">
                <a:solidFill>
                  <a:schemeClr val="tx1"/>
                </a:solidFill>
              </a:rPr>
              <a:t>or</a:t>
            </a:r>
            <a:r>
              <a:rPr lang="en-US" sz="1200" b="1" baseline="0" noProof="1">
                <a:solidFill>
                  <a:schemeClr val="tx1"/>
                </a:solidFill>
              </a:rPr>
              <a:t> </a:t>
            </a:r>
            <a:r>
              <a:rPr lang="en-US" sz="1200" b="1" i="1" baseline="0" noProof="1">
                <a:solidFill>
                  <a:schemeClr val="tx1"/>
                </a:solidFill>
              </a:rPr>
              <a:t>Layout</a:t>
            </a:r>
            <a:r>
              <a:rPr lang="en-US" sz="1200" b="1" baseline="0" noProof="1">
                <a:solidFill>
                  <a:schemeClr val="tx1"/>
                </a:solidFill>
              </a:rPr>
              <a:t> </a:t>
            </a:r>
            <a:r>
              <a:rPr lang="en-US" sz="1200" baseline="0" noProof="1">
                <a:solidFill>
                  <a:schemeClr val="tx1"/>
                </a:solidFill>
              </a:rPr>
              <a:t>and choose one out of the layouts. Now you can work in the layout you need for your competence brand. </a:t>
            </a: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with the name of your presentation, slide number and date.</a:t>
            </a:r>
          </a:p>
          <a:p>
            <a:pPr algn="l">
              <a:lnSpc>
                <a:spcPct val="90000"/>
              </a:lnSpc>
            </a:pPr>
            <a:endParaRPr lang="en-US" sz="1200" baseline="0" noProof="1">
              <a:solidFill>
                <a:schemeClr val="tx1"/>
              </a:solidFill>
            </a:endParaRPr>
          </a:p>
          <a:p>
            <a:pPr algn="l">
              <a:lnSpc>
                <a:spcPct val="90000"/>
              </a:lnSpc>
            </a:pPr>
            <a:r>
              <a:rPr lang="de-DE" sz="1200" b="1" baseline="0" noProof="1">
                <a:solidFill>
                  <a:schemeClr val="tx1"/>
                </a:solidFill>
              </a:rPr>
              <a:t>To use the footer:</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Header and Footer</a:t>
            </a:r>
            <a:r>
              <a:rPr lang="en-US" sz="1200" baseline="0" noProof="1">
                <a:solidFill>
                  <a:schemeClr val="tx1"/>
                </a:solidFill>
              </a:rPr>
              <a:t> and decide with ticks what you need. </a:t>
            </a:r>
            <a:r>
              <a:rPr lang="en-US" sz="1200" b="1" i="1" baseline="0" noProof="1">
                <a:solidFill>
                  <a:schemeClr val="tx1"/>
                </a:solidFill>
              </a:rPr>
              <a:t>Apply </a:t>
            </a:r>
            <a:r>
              <a:rPr lang="en-US" sz="1200" baseline="0" noProof="1">
                <a:solidFill>
                  <a:schemeClr val="tx1"/>
                </a:solidFill>
              </a:rPr>
              <a:t>to only the slide you work on or </a:t>
            </a:r>
            <a:r>
              <a:rPr lang="en-US" sz="1200" b="1" i="1" baseline="0" noProof="1">
                <a:solidFill>
                  <a:schemeClr val="tx1"/>
                </a:solidFill>
              </a:rPr>
              <a:t>Apply to all</a:t>
            </a:r>
            <a:r>
              <a:rPr lang="en-US" sz="1200" baseline="0" noProof="1">
                <a:solidFill>
                  <a:schemeClr val="tx1"/>
                </a:solidFill>
              </a:rPr>
              <a:t>.</a:t>
            </a:r>
            <a:endParaRPr lang="en-US" sz="1200" noProof="1">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5"/>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73565930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Explanations II/III">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6C2187F0-87C8-4B4E-A4FC-D9CA38B506AB}"/>
              </a:ext>
            </a:extLst>
          </p:cNvPr>
          <p:cNvPicPr>
            <a:picLocks noChangeAspect="1"/>
          </p:cNvPicPr>
          <p:nvPr userDrawn="1"/>
        </p:nvPicPr>
        <p:blipFill rotWithShape="1">
          <a:blip r:embed="rId2"/>
          <a:srcRect b="3317"/>
          <a:stretch/>
        </p:blipFill>
        <p:spPr>
          <a:xfrm>
            <a:off x="358777" y="1319440"/>
            <a:ext cx="3421136" cy="2337144"/>
          </a:xfrm>
          <a:prstGeom prst="rect">
            <a:avLst/>
          </a:prstGeom>
        </p:spPr>
      </p:pic>
      <p:pic>
        <p:nvPicPr>
          <p:cNvPr id="3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78000" y="1311522"/>
            <a:ext cx="2886075" cy="1623241"/>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2" name="TextBox 1"/>
          <p:cNvSpPr txBox="1"/>
          <p:nvPr userDrawn="1"/>
        </p:nvSpPr>
        <p:spPr bwMode="gray">
          <a:xfrm>
            <a:off x="357982" y="3867150"/>
            <a:ext cx="4105275" cy="828676"/>
          </a:xfrm>
          <a:prstGeom prst="rect">
            <a:avLst/>
          </a:prstGeom>
          <a:noFill/>
        </p:spPr>
        <p:txBody>
          <a:bodyPr wrap="square" lIns="0" tIns="0" rIns="0" bIns="0" rtlCol="0">
            <a:noAutofit/>
          </a:bodyPr>
          <a:lstStyle/>
          <a:p>
            <a:r>
              <a:rPr lang="en-US" sz="1200" noProof="0" dirty="0"/>
              <a:t>If you want to show only one segment, meaning either “</a:t>
            </a:r>
            <a:r>
              <a:rPr lang="en-US" sz="1200" noProof="0" dirty="0" err="1"/>
              <a:t>oerlikon</a:t>
            </a:r>
            <a:r>
              <a:rPr lang="en-US" sz="1200" noProof="0" dirty="0"/>
              <a:t> </a:t>
            </a:r>
            <a:r>
              <a:rPr lang="en-US" sz="1200" noProof="0" dirty="0" err="1"/>
              <a:t>barmag</a:t>
            </a:r>
            <a:r>
              <a:rPr lang="en-US" sz="1200" noProof="0" dirty="0"/>
              <a:t>”, “</a:t>
            </a:r>
            <a:r>
              <a:rPr lang="en-US" sz="1200" noProof="0" dirty="0" err="1"/>
              <a:t>oerlikon</a:t>
            </a:r>
            <a:r>
              <a:rPr lang="en-US" sz="1200" noProof="0" dirty="0"/>
              <a:t> </a:t>
            </a:r>
            <a:r>
              <a:rPr lang="en-US" sz="1200" noProof="0" dirty="0" err="1"/>
              <a:t>neumag</a:t>
            </a:r>
            <a:r>
              <a:rPr lang="en-US" sz="1200" noProof="0" dirty="0"/>
              <a:t>” or “</a:t>
            </a:r>
            <a:r>
              <a:rPr lang="en-US" sz="1200" noProof="0" dirty="0" err="1"/>
              <a:t>oerlikon</a:t>
            </a:r>
            <a:r>
              <a:rPr lang="en-US" sz="1200" noProof="0" dirty="0"/>
              <a:t> nonwoven”, you can simply do that. We have designed different slide masters for you</a:t>
            </a:r>
            <a:r>
              <a:rPr lang="en-US" sz="1200" baseline="0" noProof="0" dirty="0"/>
              <a:t> as indicated above.</a:t>
            </a:r>
            <a:endParaRPr lang="en-US" sz="1200" noProof="0" dirty="0"/>
          </a:p>
        </p:txBody>
      </p:sp>
      <p:sp>
        <p:nvSpPr>
          <p:cNvPr id="6" name="Rectangle 5"/>
          <p:cNvSpPr/>
          <p:nvPr userDrawn="1"/>
        </p:nvSpPr>
        <p:spPr>
          <a:xfrm>
            <a:off x="359532" y="1311522"/>
            <a:ext cx="3420381" cy="58340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12" name="Rectangle 11"/>
          <p:cNvSpPr/>
          <p:nvPr userDrawn="1"/>
        </p:nvSpPr>
        <p:spPr>
          <a:xfrm>
            <a:off x="360141" y="1894930"/>
            <a:ext cx="3420381" cy="60032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13" name="Rectangle 12"/>
          <p:cNvSpPr/>
          <p:nvPr userDrawn="1"/>
        </p:nvSpPr>
        <p:spPr>
          <a:xfrm>
            <a:off x="360141" y="2495256"/>
            <a:ext cx="3420381" cy="5803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17" name="Oval 9"/>
          <p:cNvSpPr>
            <a:spLocks noChangeArrowheads="1"/>
          </p:cNvSpPr>
          <p:nvPr userDrawn="1"/>
        </p:nvSpPr>
        <p:spPr bwMode="gray">
          <a:xfrm>
            <a:off x="467544" y="1513226"/>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1</a:t>
            </a:r>
          </a:p>
        </p:txBody>
      </p:sp>
      <p:sp>
        <p:nvSpPr>
          <p:cNvPr id="18" name="Oval 9"/>
          <p:cNvSpPr>
            <a:spLocks noChangeArrowheads="1"/>
          </p:cNvSpPr>
          <p:nvPr userDrawn="1"/>
        </p:nvSpPr>
        <p:spPr bwMode="gray">
          <a:xfrm>
            <a:off x="467543" y="2105094"/>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2</a:t>
            </a:r>
          </a:p>
        </p:txBody>
      </p:sp>
      <p:sp>
        <p:nvSpPr>
          <p:cNvPr id="19" name="Oval 9"/>
          <p:cNvSpPr>
            <a:spLocks noChangeArrowheads="1"/>
          </p:cNvSpPr>
          <p:nvPr userDrawn="1"/>
        </p:nvSpPr>
        <p:spPr bwMode="gray">
          <a:xfrm>
            <a:off x="467542" y="2695408"/>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3</a:t>
            </a:r>
          </a:p>
        </p:txBody>
      </p:sp>
      <p:cxnSp>
        <p:nvCxnSpPr>
          <p:cNvPr id="20" name="Straight Arrow Connector 19"/>
          <p:cNvCxnSpPr>
            <a:cxnSpLocks/>
            <a:stCxn id="6" idx="3"/>
          </p:cNvCxnSpPr>
          <p:nvPr userDrawn="1"/>
        </p:nvCxnSpPr>
        <p:spPr>
          <a:xfrm flipV="1">
            <a:off x="3779913" y="1513226"/>
            <a:ext cx="1397478" cy="90000"/>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TextBox 25"/>
          <p:cNvSpPr txBox="1"/>
          <p:nvPr userDrawn="1"/>
        </p:nvSpPr>
        <p:spPr bwMode="gray">
          <a:xfrm>
            <a:off x="357982" y="879475"/>
            <a:ext cx="4105275" cy="432047"/>
          </a:xfrm>
          <a:prstGeom prst="rect">
            <a:avLst/>
          </a:prstGeom>
          <a:noFill/>
        </p:spPr>
        <p:txBody>
          <a:bodyPr wrap="square" lIns="0" tIns="0" rIns="0" bIns="0" rtlCol="0">
            <a:noAutofit/>
          </a:bodyPr>
          <a:lstStyle/>
          <a:p>
            <a:r>
              <a:rPr lang="de-DE" sz="1200" b="1" noProof="0" dirty="0" err="1"/>
              <a:t>Use</a:t>
            </a:r>
            <a:r>
              <a:rPr lang="de-DE" sz="1200" b="1" baseline="0" noProof="0" dirty="0"/>
              <a:t> </a:t>
            </a:r>
            <a:r>
              <a:rPr lang="de-DE" sz="1200" b="1" baseline="0" noProof="0" dirty="0" err="1"/>
              <a:t>this</a:t>
            </a:r>
            <a:r>
              <a:rPr lang="de-DE" sz="1200" b="1" baseline="0" noProof="0" dirty="0"/>
              <a:t> </a:t>
            </a:r>
            <a:r>
              <a:rPr lang="de-DE" sz="1200" b="1" baseline="0" noProof="0" dirty="0" err="1"/>
              <a:t>variation</a:t>
            </a:r>
            <a:r>
              <a:rPr lang="de-DE" sz="1200" b="1" baseline="0" noProof="0" dirty="0"/>
              <a:t>, </a:t>
            </a:r>
            <a:r>
              <a:rPr lang="de-DE" sz="1200" b="1" baseline="0" noProof="0" dirty="0" err="1"/>
              <a:t>if</a:t>
            </a:r>
            <a:r>
              <a:rPr lang="de-DE" sz="1200" b="1" baseline="0" noProof="0" dirty="0"/>
              <a:t> </a:t>
            </a:r>
            <a:r>
              <a:rPr lang="de-DE" sz="1200" b="1" baseline="0" noProof="0" dirty="0" err="1"/>
              <a:t>your</a:t>
            </a:r>
            <a:r>
              <a:rPr lang="de-DE" sz="1200" b="1" baseline="0" noProof="0" dirty="0"/>
              <a:t> </a:t>
            </a:r>
            <a:r>
              <a:rPr lang="de-DE" sz="1200" b="1" baseline="0" noProof="0" dirty="0" err="1"/>
              <a:t>whole</a:t>
            </a:r>
            <a:r>
              <a:rPr lang="de-DE" sz="1200" b="1" baseline="0" noProof="0" dirty="0"/>
              <a:t> </a:t>
            </a:r>
            <a:r>
              <a:rPr lang="de-DE" sz="1200" b="1" baseline="0" noProof="0" dirty="0" err="1"/>
              <a:t>presentation</a:t>
            </a:r>
            <a:r>
              <a:rPr lang="de-DE" sz="1200" b="1" baseline="0" noProof="0" dirty="0"/>
              <a:t> </a:t>
            </a:r>
            <a:r>
              <a:rPr lang="de-DE" sz="1200" b="1" baseline="0" noProof="0" dirty="0" err="1"/>
              <a:t>is</a:t>
            </a:r>
            <a:r>
              <a:rPr lang="de-DE" sz="1200" b="1" baseline="0" noProof="0" dirty="0"/>
              <a:t> </a:t>
            </a:r>
            <a:r>
              <a:rPr lang="de-DE" sz="1200" b="1" baseline="0" noProof="0" dirty="0" err="1"/>
              <a:t>about</a:t>
            </a:r>
            <a:r>
              <a:rPr lang="de-DE" sz="1200" b="1" baseline="0" noProof="0" dirty="0"/>
              <a:t> </a:t>
            </a:r>
            <a:r>
              <a:rPr lang="de-DE" sz="1200" b="1" baseline="0" noProof="0" dirty="0" err="1"/>
              <a:t>one</a:t>
            </a:r>
            <a:r>
              <a:rPr lang="de-DE" sz="1200" b="1" baseline="0" noProof="0" dirty="0"/>
              <a:t> </a:t>
            </a:r>
            <a:r>
              <a:rPr lang="de-DE" sz="1200" b="1" baseline="0" noProof="0" dirty="0" err="1"/>
              <a:t>competence</a:t>
            </a:r>
            <a:r>
              <a:rPr lang="de-DE" sz="1200" b="1" baseline="0" noProof="0" dirty="0"/>
              <a:t> </a:t>
            </a:r>
            <a:r>
              <a:rPr lang="de-DE" sz="1200" b="1" baseline="0" noProof="0" dirty="0" err="1"/>
              <a:t>brand</a:t>
            </a:r>
            <a:r>
              <a:rPr lang="de-DE" sz="1200" b="1" baseline="0" noProof="0" dirty="0"/>
              <a:t>.  </a:t>
            </a:r>
            <a:endParaRPr lang="en-US" sz="1200" b="1" noProof="0" dirty="0"/>
          </a:p>
        </p:txBody>
      </p:sp>
      <p:pic>
        <p:nvPicPr>
          <p:cNvPr id="28" name="Picture 4"/>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292316" y="1784341"/>
            <a:ext cx="2886075" cy="1623241"/>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406632" y="2257160"/>
            <a:ext cx="2886075" cy="1623241"/>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7"/>
          <p:cNvSpPr>
            <a:spLocks noGrp="1"/>
          </p:cNvSpPr>
          <p:nvPr>
            <p:ph type="title"/>
          </p:nvPr>
        </p:nvSpPr>
        <p:spPr/>
        <p:txBody>
          <a:bodyPr/>
          <a:lstStyle/>
          <a:p>
            <a:r>
              <a:rPr lang="de-DE"/>
              <a:t>Mastertitelformat bearbeiten</a:t>
            </a:r>
            <a:endParaRPr lang="en-US"/>
          </a:p>
        </p:txBody>
      </p:sp>
      <p:pic>
        <p:nvPicPr>
          <p:cNvPr id="24" name="Grafik 23">
            <a:extLst>
              <a:ext uri="{FF2B5EF4-FFF2-40B4-BE49-F238E27FC236}">
                <a16:creationId xmlns:a16="http://schemas.microsoft.com/office/drawing/2014/main" id="{CEC2BD12-B0B6-414E-BE95-14F6A3B2ABF1}"/>
              </a:ext>
            </a:extLst>
          </p:cNvPr>
          <p:cNvPicPr>
            <a:picLocks noChangeAspect="1"/>
          </p:cNvPicPr>
          <p:nvPr userDrawn="1"/>
        </p:nvPicPr>
        <p:blipFill>
          <a:blip r:embed="rId6"/>
          <a:stretch>
            <a:fillRect/>
          </a:stretch>
        </p:blipFill>
        <p:spPr>
          <a:xfrm>
            <a:off x="5520949" y="2729980"/>
            <a:ext cx="2939483" cy="1653459"/>
          </a:xfrm>
          <a:prstGeom prst="rect">
            <a:avLst/>
          </a:prstGeom>
          <a:noFill/>
          <a:ln w="9525" algn="ctr">
            <a:solidFill>
              <a:schemeClr val="folHlink"/>
            </a:solidFill>
            <a:miter lim="800000"/>
            <a:headEnd/>
            <a:tailEnd/>
          </a:ln>
          <a:effectLst/>
        </p:spPr>
      </p:pic>
      <p:sp>
        <p:nvSpPr>
          <p:cNvPr id="34" name="Rectangle 12">
            <a:extLst>
              <a:ext uri="{FF2B5EF4-FFF2-40B4-BE49-F238E27FC236}">
                <a16:creationId xmlns:a16="http://schemas.microsoft.com/office/drawing/2014/main" id="{442FA10B-6FB4-4D24-8ECF-35ECB2D8D397}"/>
              </a:ext>
            </a:extLst>
          </p:cNvPr>
          <p:cNvSpPr/>
          <p:nvPr userDrawn="1"/>
        </p:nvSpPr>
        <p:spPr>
          <a:xfrm>
            <a:off x="360141" y="3076281"/>
            <a:ext cx="3420381" cy="5803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35" name="Oval 9">
            <a:extLst>
              <a:ext uri="{FF2B5EF4-FFF2-40B4-BE49-F238E27FC236}">
                <a16:creationId xmlns:a16="http://schemas.microsoft.com/office/drawing/2014/main" id="{A7065D98-2E8B-43E9-9C32-87D468D16440}"/>
              </a:ext>
            </a:extLst>
          </p:cNvPr>
          <p:cNvSpPr>
            <a:spLocks noChangeArrowheads="1"/>
          </p:cNvSpPr>
          <p:nvPr userDrawn="1"/>
        </p:nvSpPr>
        <p:spPr bwMode="gray">
          <a:xfrm>
            <a:off x="467542" y="3276433"/>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4</a:t>
            </a:r>
          </a:p>
        </p:txBody>
      </p:sp>
      <p:cxnSp>
        <p:nvCxnSpPr>
          <p:cNvPr id="36" name="Straight Arrow Connector 19">
            <a:extLst>
              <a:ext uri="{FF2B5EF4-FFF2-40B4-BE49-F238E27FC236}">
                <a16:creationId xmlns:a16="http://schemas.microsoft.com/office/drawing/2014/main" id="{B3468BA4-C967-4F3E-849C-48BE5DC50A98}"/>
              </a:ext>
            </a:extLst>
          </p:cNvPr>
          <p:cNvCxnSpPr>
            <a:cxnSpLocks/>
          </p:cNvCxnSpPr>
          <p:nvPr userDrawn="1"/>
        </p:nvCxnSpPr>
        <p:spPr>
          <a:xfrm flipV="1">
            <a:off x="3779913" y="2095713"/>
            <a:ext cx="1512403" cy="97401"/>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19">
            <a:extLst>
              <a:ext uri="{FF2B5EF4-FFF2-40B4-BE49-F238E27FC236}">
                <a16:creationId xmlns:a16="http://schemas.microsoft.com/office/drawing/2014/main" id="{4E562E44-A542-4711-B545-AA0D688B6AB2}"/>
              </a:ext>
            </a:extLst>
          </p:cNvPr>
          <p:cNvCxnSpPr>
            <a:cxnSpLocks/>
          </p:cNvCxnSpPr>
          <p:nvPr userDrawn="1"/>
        </p:nvCxnSpPr>
        <p:spPr>
          <a:xfrm flipV="1">
            <a:off x="3779913" y="2678278"/>
            <a:ext cx="1626110" cy="104725"/>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19">
            <a:extLst>
              <a:ext uri="{FF2B5EF4-FFF2-40B4-BE49-F238E27FC236}">
                <a16:creationId xmlns:a16="http://schemas.microsoft.com/office/drawing/2014/main" id="{73D00D61-9BE9-4FB5-AE4D-482D84E2509D}"/>
              </a:ext>
            </a:extLst>
          </p:cNvPr>
          <p:cNvCxnSpPr>
            <a:cxnSpLocks/>
          </p:cNvCxnSpPr>
          <p:nvPr userDrawn="1"/>
        </p:nvCxnSpPr>
        <p:spPr>
          <a:xfrm flipV="1">
            <a:off x="3779913" y="3251986"/>
            <a:ext cx="1741036" cy="112127"/>
          </a:xfrm>
          <a:prstGeom prst="straightConnector1">
            <a:avLst/>
          </a:prstGeom>
          <a:ln>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486066"/>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Explanations II/III">
    <p:spTree>
      <p:nvGrpSpPr>
        <p:cNvPr id="1" name=""/>
        <p:cNvGrpSpPr/>
        <p:nvPr/>
      </p:nvGrpSpPr>
      <p:grpSpPr>
        <a:xfrm>
          <a:off x="0" y="0"/>
          <a:ext cx="0" cy="0"/>
          <a:chOff x="0" y="0"/>
          <a:chExt cx="0" cy="0"/>
        </a:xfrm>
      </p:grpSpPr>
      <p:pic>
        <p:nvPicPr>
          <p:cNvPr id="30" name="Picture 3" descr="C:\Users\Barbara Schindler\Desktop\2016-09-08 15_52_08-Presentation2 - Microsoft PowerPoint.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618" t="15616"/>
          <a:stretch/>
        </p:blipFill>
        <p:spPr bwMode="auto">
          <a:xfrm>
            <a:off x="355729" y="1319849"/>
            <a:ext cx="2160000" cy="3080064"/>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2" name="TextBox 1"/>
          <p:cNvSpPr txBox="1"/>
          <p:nvPr userDrawn="1"/>
        </p:nvSpPr>
        <p:spPr bwMode="gray">
          <a:xfrm>
            <a:off x="4679950" y="3651870"/>
            <a:ext cx="4105275" cy="1132759"/>
          </a:xfrm>
          <a:prstGeom prst="rect">
            <a:avLst/>
          </a:prstGeom>
          <a:noFill/>
        </p:spPr>
        <p:txBody>
          <a:bodyPr wrap="square" lIns="0" tIns="0" rIns="0" bIns="0" rtlCol="0">
            <a:noAutofit/>
          </a:bodyPr>
          <a:lstStyle/>
          <a:p>
            <a:r>
              <a:rPr lang="de-DE" sz="1200" noProof="0" dirty="0"/>
              <a:t>Select </a:t>
            </a:r>
            <a:r>
              <a:rPr lang="de-DE" sz="1200" noProof="0" dirty="0" err="1"/>
              <a:t>the</a:t>
            </a:r>
            <a:r>
              <a:rPr lang="de-DE" sz="1200" noProof="0" dirty="0"/>
              <a:t> </a:t>
            </a:r>
            <a:r>
              <a:rPr lang="de-DE" sz="1200" noProof="0" dirty="0" err="1"/>
              <a:t>slide</a:t>
            </a:r>
            <a:r>
              <a:rPr lang="de-DE" sz="1200" baseline="0" noProof="0" dirty="0"/>
              <a:t> </a:t>
            </a:r>
            <a:r>
              <a:rPr lang="de-DE" sz="1200" baseline="0" noProof="0" dirty="0" err="1"/>
              <a:t>you</a:t>
            </a:r>
            <a:r>
              <a:rPr lang="de-DE" sz="1200" baseline="0" noProof="0" dirty="0"/>
              <a:t> </a:t>
            </a:r>
            <a:r>
              <a:rPr lang="de-DE" sz="1200" baseline="0" noProof="0" dirty="0" err="1"/>
              <a:t>want</a:t>
            </a:r>
            <a:r>
              <a:rPr lang="de-DE" sz="1200" baseline="0" noProof="0" dirty="0"/>
              <a:t> </a:t>
            </a:r>
            <a:r>
              <a:rPr lang="de-DE" sz="1200" baseline="0" noProof="0" dirty="0" err="1"/>
              <a:t>to</a:t>
            </a:r>
            <a:r>
              <a:rPr lang="de-DE" sz="1200" baseline="0" noProof="0" dirty="0"/>
              <a:t> </a:t>
            </a:r>
            <a:r>
              <a:rPr lang="de-DE" sz="1200" baseline="0" noProof="0" dirty="0" err="1"/>
              <a:t>change</a:t>
            </a:r>
            <a:r>
              <a:rPr lang="de-DE" sz="1200" baseline="0" noProof="0" dirty="0"/>
              <a:t> (1) </a:t>
            </a:r>
            <a:r>
              <a:rPr lang="de-DE" sz="1200" baseline="0" noProof="0" dirty="0" err="1"/>
              <a:t>and</a:t>
            </a:r>
            <a:r>
              <a:rPr lang="de-DE" sz="1200" baseline="0" noProof="0" dirty="0"/>
              <a:t> </a:t>
            </a:r>
            <a:r>
              <a:rPr lang="de-DE" sz="1200" baseline="0" noProof="0" dirty="0" err="1"/>
              <a:t>switch</a:t>
            </a:r>
            <a:r>
              <a:rPr lang="de-DE" sz="1200" baseline="0" noProof="0" dirty="0"/>
              <a:t> </a:t>
            </a:r>
            <a:r>
              <a:rPr lang="de-DE" sz="1200" baseline="0" noProof="0" dirty="0" err="1"/>
              <a:t>it</a:t>
            </a:r>
            <a:r>
              <a:rPr lang="de-DE" sz="1200" baseline="0" noProof="0" dirty="0"/>
              <a:t> via </a:t>
            </a:r>
            <a:endParaRPr lang="en-US" sz="1200" noProof="0" dirty="0"/>
          </a:p>
          <a:p>
            <a:r>
              <a:rPr lang="en-US" sz="1200" b="1" i="1" noProof="0" dirty="0"/>
              <a:t>Home</a:t>
            </a:r>
            <a:r>
              <a:rPr lang="en-US" sz="1200" b="0" i="0" baseline="0" noProof="0" dirty="0"/>
              <a:t> | </a:t>
            </a:r>
            <a:r>
              <a:rPr lang="en-US" sz="1200" b="1" i="1" noProof="0" dirty="0"/>
              <a:t>Layout</a:t>
            </a:r>
            <a:r>
              <a:rPr lang="en-US" sz="1200" noProof="0" dirty="0"/>
              <a:t> and choose the layout</a:t>
            </a:r>
            <a:r>
              <a:rPr lang="en-US" sz="1200" baseline="0" noProof="0" dirty="0"/>
              <a:t> for your </a:t>
            </a:r>
            <a:br>
              <a:rPr lang="en-US" sz="1200" baseline="0" noProof="0" dirty="0"/>
            </a:br>
            <a:r>
              <a:rPr lang="en-US" sz="1200" baseline="0" noProof="0" dirty="0" err="1"/>
              <a:t>oerlikon</a:t>
            </a:r>
            <a:r>
              <a:rPr lang="en-US" sz="1200" baseline="0" noProof="0" dirty="0"/>
              <a:t> brand (2).</a:t>
            </a:r>
            <a:endParaRPr lang="en-US" sz="1200" noProof="0" dirty="0"/>
          </a:p>
          <a:p>
            <a:endParaRPr lang="en-US" sz="1200" noProof="0" dirty="0"/>
          </a:p>
        </p:txBody>
      </p:sp>
      <p:sp>
        <p:nvSpPr>
          <p:cNvPr id="23" name="TextBox 22"/>
          <p:cNvSpPr txBox="1"/>
          <p:nvPr userDrawn="1"/>
        </p:nvSpPr>
        <p:spPr bwMode="gray">
          <a:xfrm>
            <a:off x="357982" y="879475"/>
            <a:ext cx="4105275" cy="828676"/>
          </a:xfrm>
          <a:prstGeom prst="rect">
            <a:avLst/>
          </a:prstGeom>
          <a:noFill/>
        </p:spPr>
        <p:txBody>
          <a:bodyPr wrap="square" lIns="0" tIns="0" rIns="0" bIns="0" rtlCol="0">
            <a:noAutofit/>
          </a:bodyPr>
          <a:lstStyle/>
          <a:p>
            <a:r>
              <a:rPr lang="de-DE" sz="1200" b="1" noProof="0" dirty="0" err="1"/>
              <a:t>Use</a:t>
            </a:r>
            <a:r>
              <a:rPr lang="de-DE" sz="1200" b="1" baseline="0" noProof="0" dirty="0"/>
              <a:t> </a:t>
            </a:r>
            <a:r>
              <a:rPr lang="de-DE" sz="1200" b="1" baseline="0" noProof="0" dirty="0" err="1"/>
              <a:t>this</a:t>
            </a:r>
            <a:r>
              <a:rPr lang="de-DE" sz="1200" b="1" baseline="0" noProof="0" dirty="0"/>
              <a:t> </a:t>
            </a:r>
            <a:r>
              <a:rPr lang="de-DE" sz="1200" b="1" baseline="0" noProof="0" dirty="0" err="1"/>
              <a:t>variation</a:t>
            </a:r>
            <a:r>
              <a:rPr lang="de-DE" sz="1200" b="1" baseline="0" noProof="0" dirty="0"/>
              <a:t>, </a:t>
            </a:r>
            <a:r>
              <a:rPr lang="de-DE" sz="1200" b="1" baseline="0" noProof="0" dirty="0" err="1"/>
              <a:t>if</a:t>
            </a:r>
            <a:r>
              <a:rPr lang="de-DE" sz="1200" b="1" baseline="0" noProof="0" dirty="0"/>
              <a:t> </a:t>
            </a:r>
            <a:r>
              <a:rPr lang="de-DE" sz="1200" b="1" baseline="0" noProof="0" dirty="0" err="1"/>
              <a:t>you</a:t>
            </a:r>
            <a:r>
              <a:rPr lang="de-DE" sz="1200" b="1" baseline="0" noProof="0" dirty="0"/>
              <a:t> </a:t>
            </a:r>
            <a:r>
              <a:rPr lang="de-DE" sz="1200" b="1" baseline="0" noProof="0" dirty="0" err="1"/>
              <a:t>want</a:t>
            </a:r>
            <a:r>
              <a:rPr lang="de-DE" sz="1200" b="1" baseline="0" noProof="0" dirty="0"/>
              <a:t> </a:t>
            </a:r>
            <a:r>
              <a:rPr lang="de-DE" sz="1200" b="1" baseline="0" noProof="0" dirty="0" err="1"/>
              <a:t>to</a:t>
            </a:r>
            <a:r>
              <a:rPr lang="de-DE" sz="1200" b="1" baseline="0" noProof="0" dirty="0"/>
              <a:t> </a:t>
            </a:r>
            <a:r>
              <a:rPr lang="de-DE" sz="1200" b="1" baseline="0" noProof="0" dirty="0" err="1"/>
              <a:t>change</a:t>
            </a:r>
            <a:r>
              <a:rPr lang="de-DE" sz="1200" b="1" baseline="0" noProof="0" dirty="0"/>
              <a:t> </a:t>
            </a:r>
            <a:r>
              <a:rPr lang="de-DE" sz="1200" b="1" baseline="0" noProof="0" dirty="0" err="1"/>
              <a:t>one</a:t>
            </a:r>
            <a:r>
              <a:rPr lang="de-DE" sz="1200" b="1" baseline="0" noProof="0" dirty="0"/>
              <a:t> </a:t>
            </a:r>
            <a:r>
              <a:rPr lang="de-DE" sz="1200" b="1" baseline="0" noProof="0" dirty="0" err="1"/>
              <a:t>slide</a:t>
            </a:r>
            <a:r>
              <a:rPr lang="de-DE" sz="1200" b="1" baseline="0" noProof="0" dirty="0"/>
              <a:t> </a:t>
            </a:r>
            <a:r>
              <a:rPr lang="de-DE" sz="1200" b="1" baseline="0" noProof="0" dirty="0" err="1"/>
              <a:t>into</a:t>
            </a:r>
            <a:r>
              <a:rPr lang="de-DE" sz="1200" b="1" baseline="0" noProof="0" dirty="0"/>
              <a:t> </a:t>
            </a:r>
            <a:r>
              <a:rPr lang="de-DE" sz="1200" b="1" baseline="0" noProof="0" dirty="0" err="1"/>
              <a:t>another</a:t>
            </a:r>
            <a:r>
              <a:rPr lang="de-DE" sz="1200" b="1" baseline="0" noProof="0" dirty="0"/>
              <a:t> </a:t>
            </a:r>
            <a:r>
              <a:rPr lang="de-DE" sz="1200" b="1" baseline="0" noProof="0" dirty="0" err="1"/>
              <a:t>layout</a:t>
            </a:r>
            <a:r>
              <a:rPr lang="de-DE" sz="1200" b="1" baseline="0" noProof="0" dirty="0"/>
              <a:t>.</a:t>
            </a:r>
            <a:endParaRPr lang="en-US" sz="1200" b="1" noProof="0" dirty="0"/>
          </a:p>
        </p:txBody>
      </p:sp>
      <p:pic>
        <p:nvPicPr>
          <p:cNvPr id="1026" name="Picture 2" descr="C:\Users\Barbara Schindler\Desktop\2016-09-08 15_32_58-Presentation2 - Microsoft PowerPoin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79950" y="1319848"/>
            <a:ext cx="4105274" cy="2249250"/>
          </a:xfrm>
          <a:prstGeom prst="rect">
            <a:avLst/>
          </a:prstGeom>
          <a:noFill/>
          <a:extLst>
            <a:ext uri="{909E8E84-426E-40DD-AFC4-6F175D3DCCD1}">
              <a14:hiddenFill xmlns:a14="http://schemas.microsoft.com/office/drawing/2010/main">
                <a:solidFill>
                  <a:srgbClr val="FFFFFF"/>
                </a:solidFill>
              </a14:hiddenFill>
            </a:ext>
          </a:extLst>
        </p:spPr>
      </p:pic>
      <p:sp>
        <p:nvSpPr>
          <p:cNvPr id="25" name="Oval 9"/>
          <p:cNvSpPr>
            <a:spLocks noChangeArrowheads="1"/>
          </p:cNvSpPr>
          <p:nvPr userDrawn="1"/>
        </p:nvSpPr>
        <p:spPr bwMode="gray">
          <a:xfrm>
            <a:off x="357981" y="2716213"/>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1</a:t>
            </a:r>
          </a:p>
        </p:txBody>
      </p:sp>
      <p:sp>
        <p:nvSpPr>
          <p:cNvPr id="26" name="Oval 9"/>
          <p:cNvSpPr>
            <a:spLocks noChangeArrowheads="1"/>
          </p:cNvSpPr>
          <p:nvPr userDrawn="1"/>
        </p:nvSpPr>
        <p:spPr bwMode="gray">
          <a:xfrm>
            <a:off x="7671923" y="2264474"/>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2</a:t>
            </a:r>
          </a:p>
        </p:txBody>
      </p:sp>
      <p:sp>
        <p:nvSpPr>
          <p:cNvPr id="6" name="Title 5"/>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374578638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Explanations II/III">
    <p:spTree>
      <p:nvGrpSpPr>
        <p:cNvPr id="1" name=""/>
        <p:cNvGrpSpPr/>
        <p:nvPr/>
      </p:nvGrpSpPr>
      <p:grpSpPr>
        <a:xfrm>
          <a:off x="0" y="0"/>
          <a:ext cx="0" cy="0"/>
          <a:chOff x="0" y="0"/>
          <a:chExt cx="0" cy="0"/>
        </a:xfrm>
      </p:grpSpPr>
      <p:pic>
        <p:nvPicPr>
          <p:cNvPr id="17" name="Picture 2" descr="C:\Users\Barbara Schindler\Desktop\2016-09-08 15_53_21-Presentation2 - Microsoft PowerPoint.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5138" b="1089"/>
          <a:stretch/>
        </p:blipFill>
        <p:spPr bwMode="auto">
          <a:xfrm>
            <a:off x="355729" y="1319848"/>
            <a:ext cx="2152650" cy="308006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C:\Users\Barbara Schindler\Desktop\2016-09-08 15_40_48-Program Manager.pn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2162" b="42932"/>
          <a:stretch/>
        </p:blipFill>
        <p:spPr bwMode="auto">
          <a:xfrm>
            <a:off x="4679951" y="1319848"/>
            <a:ext cx="4105273" cy="1348397"/>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2" name="TextBox 1"/>
          <p:cNvSpPr txBox="1"/>
          <p:nvPr userDrawn="1"/>
        </p:nvSpPr>
        <p:spPr bwMode="gray">
          <a:xfrm>
            <a:off x="4679950" y="3651870"/>
            <a:ext cx="4105275" cy="1132759"/>
          </a:xfrm>
          <a:prstGeom prst="rect">
            <a:avLst/>
          </a:prstGeom>
          <a:noFill/>
        </p:spPr>
        <p:txBody>
          <a:bodyPr wrap="square" lIns="0" tIns="0" rIns="0" bIns="0" rtlCol="0">
            <a:noAutofit/>
          </a:bodyPr>
          <a:lstStyle/>
          <a:p>
            <a:r>
              <a:rPr lang="de-DE" sz="1200" noProof="0" dirty="0"/>
              <a:t>Select </a:t>
            </a:r>
            <a:r>
              <a:rPr lang="de-DE" sz="1200" noProof="0" dirty="0" err="1"/>
              <a:t>the</a:t>
            </a:r>
            <a:r>
              <a:rPr lang="de-DE" sz="1200" noProof="0" dirty="0"/>
              <a:t> </a:t>
            </a:r>
            <a:r>
              <a:rPr lang="de-DE" sz="1200" noProof="0" dirty="0" err="1"/>
              <a:t>slides</a:t>
            </a:r>
            <a:r>
              <a:rPr lang="de-DE" sz="1200" baseline="0" noProof="0" dirty="0"/>
              <a:t> </a:t>
            </a:r>
            <a:r>
              <a:rPr lang="de-DE" sz="1200" baseline="0" noProof="0" dirty="0" err="1"/>
              <a:t>you</a:t>
            </a:r>
            <a:r>
              <a:rPr lang="de-DE" sz="1200" baseline="0" noProof="0" dirty="0"/>
              <a:t> </a:t>
            </a:r>
            <a:r>
              <a:rPr lang="de-DE" sz="1200" baseline="0" noProof="0" dirty="0" err="1"/>
              <a:t>want</a:t>
            </a:r>
            <a:r>
              <a:rPr lang="de-DE" sz="1200" baseline="0" noProof="0" dirty="0"/>
              <a:t> </a:t>
            </a:r>
            <a:r>
              <a:rPr lang="de-DE" sz="1200" baseline="0" noProof="0" dirty="0" err="1"/>
              <a:t>to</a:t>
            </a:r>
            <a:r>
              <a:rPr lang="de-DE" sz="1200" baseline="0" noProof="0" dirty="0"/>
              <a:t> </a:t>
            </a:r>
            <a:r>
              <a:rPr lang="de-DE" sz="1200" baseline="0" noProof="0" dirty="0" err="1"/>
              <a:t>change</a:t>
            </a:r>
            <a:r>
              <a:rPr lang="de-DE" sz="1200" baseline="0" noProof="0" dirty="0"/>
              <a:t> (1) </a:t>
            </a:r>
            <a:r>
              <a:rPr lang="de-DE" sz="1200" baseline="0" noProof="0" dirty="0" err="1"/>
              <a:t>and</a:t>
            </a:r>
            <a:r>
              <a:rPr lang="de-DE" sz="1200" baseline="0" noProof="0" dirty="0"/>
              <a:t> </a:t>
            </a:r>
            <a:r>
              <a:rPr lang="de-DE" sz="1200" baseline="0" noProof="0" dirty="0" err="1"/>
              <a:t>switch</a:t>
            </a:r>
            <a:r>
              <a:rPr lang="de-DE" sz="1200" baseline="0" noProof="0" dirty="0"/>
              <a:t> </a:t>
            </a:r>
            <a:r>
              <a:rPr lang="de-DE" sz="1200" baseline="0" noProof="0" dirty="0" err="1"/>
              <a:t>it</a:t>
            </a:r>
            <a:r>
              <a:rPr lang="de-DE" sz="1200" baseline="0" noProof="0" dirty="0"/>
              <a:t> via </a:t>
            </a:r>
            <a:endParaRPr lang="en-US" sz="1200" noProof="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1" noProof="0" dirty="0"/>
              <a:t>Design</a:t>
            </a:r>
            <a:r>
              <a:rPr lang="en-US" sz="1200" b="0" i="0" baseline="0" noProof="0" dirty="0"/>
              <a:t> and choose the </a:t>
            </a:r>
            <a:r>
              <a:rPr lang="en-US" sz="1200" b="1" i="1" baseline="0" noProof="0" dirty="0"/>
              <a:t>Theme </a:t>
            </a:r>
            <a:r>
              <a:rPr lang="en-US" sz="1200" b="0" i="0" baseline="0" noProof="0" dirty="0"/>
              <a:t>you want to use.</a:t>
            </a:r>
            <a:br>
              <a:rPr lang="en-US" sz="1200" b="0" i="0" baseline="0" noProof="0" dirty="0"/>
            </a:br>
            <a:r>
              <a:rPr lang="en-US" sz="1200" dirty="0"/>
              <a:t>Please only use the first 3 themes with the different competence brand logos</a:t>
            </a:r>
            <a:r>
              <a:rPr lang="en-US" sz="1200" baseline="0" dirty="0"/>
              <a:t> </a:t>
            </a:r>
            <a:r>
              <a:rPr lang="en-US" sz="1200" baseline="0" noProof="0" dirty="0"/>
              <a:t>(2). </a:t>
            </a:r>
            <a:br>
              <a:rPr lang="en-US" sz="1200" baseline="0" noProof="0" dirty="0"/>
            </a:br>
            <a:r>
              <a:rPr lang="de-DE" sz="1200" baseline="0" noProof="0" dirty="0"/>
              <a:t>O</a:t>
            </a:r>
            <a:r>
              <a:rPr lang="de-DE" sz="1200" dirty="0"/>
              <a:t>ne </a:t>
            </a:r>
            <a:r>
              <a:rPr lang="de-DE" sz="1200" dirty="0" err="1"/>
              <a:t>including</a:t>
            </a:r>
            <a:r>
              <a:rPr lang="de-DE" sz="1200" dirty="0"/>
              <a:t> </a:t>
            </a:r>
            <a:r>
              <a:rPr lang="de-DE" sz="1200" dirty="0" err="1"/>
              <a:t>both</a:t>
            </a:r>
            <a:r>
              <a:rPr lang="de-DE" sz="1200" dirty="0"/>
              <a:t> </a:t>
            </a:r>
            <a:r>
              <a:rPr lang="de-DE" sz="1200" dirty="0" err="1"/>
              <a:t>brands</a:t>
            </a:r>
            <a:r>
              <a:rPr lang="de-DE" sz="1200" dirty="0"/>
              <a:t> </a:t>
            </a:r>
            <a:r>
              <a:rPr lang="de-DE" sz="1200" dirty="0" err="1"/>
              <a:t>and</a:t>
            </a:r>
            <a:r>
              <a:rPr lang="de-DE" sz="1200" dirty="0"/>
              <a:t> </a:t>
            </a:r>
            <a:r>
              <a:rPr lang="de-DE" sz="1200" dirty="0" err="1"/>
              <a:t>two</a:t>
            </a:r>
            <a:r>
              <a:rPr lang="de-DE" sz="1200" dirty="0"/>
              <a:t> </a:t>
            </a:r>
            <a:r>
              <a:rPr lang="de-DE" sz="1200" dirty="0" err="1"/>
              <a:t>with</a:t>
            </a:r>
            <a:r>
              <a:rPr lang="de-DE" sz="1200" dirty="0"/>
              <a:t> </a:t>
            </a:r>
            <a:r>
              <a:rPr lang="de-DE" sz="1200" dirty="0" err="1"/>
              <a:t>one</a:t>
            </a:r>
            <a:r>
              <a:rPr lang="de-DE" sz="1200" dirty="0"/>
              <a:t> </a:t>
            </a:r>
            <a:r>
              <a:rPr lang="de-DE" sz="1200" dirty="0" err="1"/>
              <a:t>brand</a:t>
            </a:r>
            <a:r>
              <a:rPr lang="de-DE" sz="1200" dirty="0"/>
              <a:t> </a:t>
            </a:r>
            <a:r>
              <a:rPr lang="de-DE" sz="1200" dirty="0" err="1"/>
              <a:t>only</a:t>
            </a:r>
            <a:r>
              <a:rPr lang="de-DE" sz="1200"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noProof="0" dirty="0"/>
          </a:p>
          <a:p>
            <a:endParaRPr lang="en-US" sz="1200" noProof="0" dirty="0"/>
          </a:p>
        </p:txBody>
      </p:sp>
      <p:sp>
        <p:nvSpPr>
          <p:cNvPr id="23" name="TextBox 22"/>
          <p:cNvSpPr txBox="1"/>
          <p:nvPr userDrawn="1"/>
        </p:nvSpPr>
        <p:spPr bwMode="gray">
          <a:xfrm>
            <a:off x="357982" y="879475"/>
            <a:ext cx="4105275" cy="828676"/>
          </a:xfrm>
          <a:prstGeom prst="rect">
            <a:avLst/>
          </a:prstGeom>
          <a:noFill/>
        </p:spPr>
        <p:txBody>
          <a:bodyPr wrap="square" lIns="0" tIns="0" rIns="0" bIns="0" rtlCol="0">
            <a:noAutofit/>
          </a:bodyPr>
          <a:lstStyle/>
          <a:p>
            <a:r>
              <a:rPr lang="de-DE" sz="1200" b="1" noProof="0" dirty="0" err="1"/>
              <a:t>Use</a:t>
            </a:r>
            <a:r>
              <a:rPr lang="de-DE" sz="1200" b="1" baseline="0" noProof="0" dirty="0"/>
              <a:t> </a:t>
            </a:r>
            <a:r>
              <a:rPr lang="de-DE" sz="1200" b="1" baseline="0" noProof="0" dirty="0" err="1"/>
              <a:t>this</a:t>
            </a:r>
            <a:r>
              <a:rPr lang="de-DE" sz="1200" b="1" baseline="0" noProof="0" dirty="0"/>
              <a:t> </a:t>
            </a:r>
            <a:r>
              <a:rPr lang="de-DE" sz="1200" b="1" baseline="0" noProof="0" dirty="0" err="1"/>
              <a:t>variation</a:t>
            </a:r>
            <a:r>
              <a:rPr lang="de-DE" sz="1200" b="1" baseline="0" noProof="0" dirty="0"/>
              <a:t>, </a:t>
            </a:r>
            <a:r>
              <a:rPr lang="de-DE" sz="1200" b="1" baseline="0" noProof="0" dirty="0" err="1"/>
              <a:t>if</a:t>
            </a:r>
            <a:r>
              <a:rPr lang="de-DE" sz="1200" b="1" baseline="0" noProof="0" dirty="0"/>
              <a:t> </a:t>
            </a:r>
            <a:r>
              <a:rPr lang="de-DE" sz="1200" b="1" baseline="0" noProof="0" dirty="0" err="1"/>
              <a:t>you</a:t>
            </a:r>
            <a:r>
              <a:rPr lang="de-DE" sz="1200" b="1" baseline="0" noProof="0" dirty="0"/>
              <a:t> </a:t>
            </a:r>
            <a:r>
              <a:rPr lang="de-DE" sz="1200" b="1" baseline="0" noProof="0" dirty="0" err="1"/>
              <a:t>want</a:t>
            </a:r>
            <a:r>
              <a:rPr lang="de-DE" sz="1200" b="1" baseline="0" noProof="0" dirty="0"/>
              <a:t> </a:t>
            </a:r>
            <a:r>
              <a:rPr lang="de-DE" sz="1200" b="1" baseline="0" noProof="0" dirty="0" err="1"/>
              <a:t>to</a:t>
            </a:r>
            <a:r>
              <a:rPr lang="de-DE" sz="1200" b="1" baseline="0" noProof="0" dirty="0"/>
              <a:t> </a:t>
            </a:r>
            <a:r>
              <a:rPr lang="de-DE" sz="1200" b="1" baseline="0" noProof="0" dirty="0" err="1"/>
              <a:t>change</a:t>
            </a:r>
            <a:r>
              <a:rPr lang="de-DE" sz="1200" b="1" baseline="0" noProof="0" dirty="0"/>
              <a:t> </a:t>
            </a:r>
            <a:r>
              <a:rPr lang="de-DE" sz="1200" b="1" baseline="0" noProof="0" dirty="0" err="1"/>
              <a:t>more</a:t>
            </a:r>
            <a:r>
              <a:rPr lang="de-DE" sz="1200" b="1" baseline="0" noProof="0" dirty="0"/>
              <a:t> </a:t>
            </a:r>
            <a:r>
              <a:rPr lang="de-DE" sz="1200" b="1" baseline="0" noProof="0" dirty="0" err="1"/>
              <a:t>slides</a:t>
            </a:r>
            <a:r>
              <a:rPr lang="de-DE" sz="1200" b="1" baseline="0" noProof="0" dirty="0"/>
              <a:t> </a:t>
            </a:r>
            <a:r>
              <a:rPr lang="de-DE" sz="1200" b="1" baseline="0" noProof="0" dirty="0" err="1"/>
              <a:t>than</a:t>
            </a:r>
            <a:r>
              <a:rPr lang="de-DE" sz="1200" b="1" baseline="0" noProof="0" dirty="0"/>
              <a:t> </a:t>
            </a:r>
            <a:r>
              <a:rPr lang="de-DE" sz="1200" b="1" baseline="0" noProof="0" dirty="0" err="1"/>
              <a:t>one</a:t>
            </a:r>
            <a:r>
              <a:rPr lang="de-DE" sz="1200" b="1" baseline="0" noProof="0" dirty="0"/>
              <a:t> </a:t>
            </a:r>
            <a:r>
              <a:rPr lang="de-DE" sz="1200" b="1" baseline="0" noProof="0" dirty="0" err="1"/>
              <a:t>or</a:t>
            </a:r>
            <a:r>
              <a:rPr lang="de-DE" sz="1200" b="1" baseline="0" noProof="0" dirty="0"/>
              <a:t> </a:t>
            </a:r>
            <a:r>
              <a:rPr lang="de-DE" sz="1200" b="1" baseline="0" noProof="0" dirty="0" err="1"/>
              <a:t>the</a:t>
            </a:r>
            <a:r>
              <a:rPr lang="de-DE" sz="1200" b="1" baseline="0" noProof="0" dirty="0"/>
              <a:t> </a:t>
            </a:r>
            <a:r>
              <a:rPr lang="de-DE" sz="1200" b="1" baseline="0" noProof="0" dirty="0" err="1"/>
              <a:t>whole</a:t>
            </a:r>
            <a:r>
              <a:rPr lang="de-DE" sz="1200" b="1" baseline="0" noProof="0" dirty="0"/>
              <a:t> </a:t>
            </a:r>
            <a:r>
              <a:rPr lang="de-DE" sz="1200" b="1" baseline="0" noProof="0" dirty="0" err="1"/>
              <a:t>presentation</a:t>
            </a:r>
            <a:r>
              <a:rPr lang="de-DE" sz="1200" b="1" baseline="0" noProof="0" dirty="0"/>
              <a:t> </a:t>
            </a:r>
            <a:r>
              <a:rPr lang="de-DE" sz="1200" b="1" baseline="0" noProof="0" dirty="0" err="1"/>
              <a:t>into</a:t>
            </a:r>
            <a:r>
              <a:rPr lang="de-DE" sz="1200" b="1" baseline="0" noProof="0" dirty="0"/>
              <a:t> </a:t>
            </a:r>
            <a:r>
              <a:rPr lang="de-DE" sz="1200" b="1" baseline="0" noProof="0" dirty="0" err="1"/>
              <a:t>another</a:t>
            </a:r>
            <a:r>
              <a:rPr lang="de-DE" sz="1200" b="1" baseline="0" noProof="0" dirty="0"/>
              <a:t> </a:t>
            </a:r>
            <a:r>
              <a:rPr lang="de-DE" sz="1200" b="1" baseline="0" noProof="0" dirty="0" err="1"/>
              <a:t>layout</a:t>
            </a:r>
            <a:r>
              <a:rPr lang="de-DE" sz="1200" b="1" baseline="0" noProof="0" dirty="0"/>
              <a:t>.</a:t>
            </a:r>
            <a:endParaRPr lang="en-US" sz="1200" b="1" noProof="0" dirty="0"/>
          </a:p>
        </p:txBody>
      </p:sp>
      <p:sp>
        <p:nvSpPr>
          <p:cNvPr id="25" name="Oval 9"/>
          <p:cNvSpPr>
            <a:spLocks noChangeArrowheads="1"/>
          </p:cNvSpPr>
          <p:nvPr userDrawn="1"/>
        </p:nvSpPr>
        <p:spPr bwMode="gray">
          <a:xfrm>
            <a:off x="357981" y="2716213"/>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1</a:t>
            </a:r>
          </a:p>
        </p:txBody>
      </p:sp>
      <p:sp>
        <p:nvSpPr>
          <p:cNvPr id="26" name="Oval 9"/>
          <p:cNvSpPr>
            <a:spLocks noChangeArrowheads="1"/>
          </p:cNvSpPr>
          <p:nvPr userDrawn="1"/>
        </p:nvSpPr>
        <p:spPr bwMode="gray">
          <a:xfrm>
            <a:off x="5429761" y="1725666"/>
            <a:ext cx="179999" cy="179999"/>
          </a:xfrm>
          <a:prstGeom prst="ellipse">
            <a:avLst/>
          </a:prstGeom>
          <a:solidFill>
            <a:schemeClr val="bg2"/>
          </a:solidFill>
          <a:ln w="9525">
            <a:solidFill>
              <a:schemeClr val="bg2"/>
            </a:solidFill>
            <a:round/>
            <a:headEnd/>
            <a:tailEnd/>
          </a:ln>
        </p:spPr>
        <p:txBody>
          <a:bodyPr wrap="none" lIns="78203" tIns="39102" rIns="78203" bIns="39102" anchor="ctr"/>
          <a:lstStyle/>
          <a:p>
            <a:pPr algn="ctr" defTabSz="684610"/>
            <a:r>
              <a:rPr lang="en-US" sz="1050" dirty="0">
                <a:solidFill>
                  <a:schemeClr val="bg1"/>
                </a:solidFill>
              </a:rPr>
              <a:t>2</a:t>
            </a:r>
          </a:p>
        </p:txBody>
      </p:sp>
      <p:sp>
        <p:nvSpPr>
          <p:cNvPr id="6" name="Rectangle 5"/>
          <p:cNvSpPr/>
          <p:nvPr userDrawn="1"/>
        </p:nvSpPr>
        <p:spPr>
          <a:xfrm>
            <a:off x="7524328" y="1563638"/>
            <a:ext cx="1260897" cy="504056"/>
          </a:xfrm>
          <a:prstGeom prst="rect">
            <a:avLst/>
          </a:pr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16" name="Rectangle 15"/>
          <p:cNvSpPr/>
          <p:nvPr userDrawn="1"/>
        </p:nvSpPr>
        <p:spPr>
          <a:xfrm>
            <a:off x="5676900" y="1563638"/>
            <a:ext cx="1813560" cy="5471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sz="1400" b="1" dirty="0" err="1">
              <a:solidFill>
                <a:schemeClr val="tx1"/>
              </a:solidFill>
            </a:endParaRPr>
          </a:p>
        </p:txBody>
      </p:sp>
      <p:sp>
        <p:nvSpPr>
          <p:cNvPr id="8" name="Title 7"/>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23113239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a:t>
            </a:r>
            <a:br>
              <a:rPr lang="en-US" noProof="0" dirty="0"/>
            </a:br>
            <a:r>
              <a:rPr lang="en-US" noProof="0" dirty="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46426004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subtitle of the presentation</a:t>
            </a:r>
          </a:p>
        </p:txBody>
      </p:sp>
    </p:spTree>
    <p:extLst>
      <p:ext uri="{BB962C8B-B14F-4D97-AF65-F5344CB8AC3E}">
        <p14:creationId xmlns:p14="http://schemas.microsoft.com/office/powerpoint/2010/main" val="115151133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File Name</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Nr.›</a:t>
            </a:fld>
            <a:endParaRPr lang="en-US" noProof="0"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5292369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4"/>
          </p:nvPr>
        </p:nvSpPr>
        <p:spPr/>
        <p:txBody>
          <a:bodyPr/>
          <a:lstStyle/>
          <a:p>
            <a:endParaRPr lang="en-US" dirty="0"/>
          </a:p>
        </p:txBody>
      </p:sp>
      <p:sp>
        <p:nvSpPr>
          <p:cNvPr id="5" name="Footer Placeholder 4"/>
          <p:cNvSpPr>
            <a:spLocks noGrp="1"/>
          </p:cNvSpPr>
          <p:nvPr>
            <p:ph type="ftr" sz="quarter" idx="15"/>
          </p:nvPr>
        </p:nvSpPr>
        <p:spPr/>
        <p:txBody>
          <a:bodyPr/>
          <a:lstStyle/>
          <a:p>
            <a:r>
              <a:rPr lang="en-US"/>
              <a:t>File Name</a:t>
            </a:r>
            <a:endParaRPr lang="en-US" dirty="0"/>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en-US" dirty="0"/>
              <a:t>Click to edit Master title style</a:t>
            </a:r>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05006080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File Name</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Nr.›</a:t>
            </a:fld>
            <a:endParaRPr lang="en-US" noProof="0" dirty="0"/>
          </a:p>
        </p:txBody>
      </p:sp>
      <p:sp>
        <p:nvSpPr>
          <p:cNvPr id="11" name="Title 10"/>
          <p:cNvSpPr>
            <a:spLocks noGrp="1"/>
          </p:cNvSpPr>
          <p:nvPr>
            <p:ph type="title"/>
          </p:nvPr>
        </p:nvSpPr>
        <p:spPr/>
        <p:txBody>
          <a:bodyPr/>
          <a:lstStyle/>
          <a:p>
            <a:r>
              <a:rPr lang="de-DE"/>
              <a:t>Mastertitelformat bearbeiten</a:t>
            </a:r>
            <a:endParaRPr lang="en-US" dirty="0"/>
          </a:p>
        </p:txBody>
      </p:sp>
    </p:spTree>
    <p:extLst>
      <p:ext uri="{BB962C8B-B14F-4D97-AF65-F5344CB8AC3E}">
        <p14:creationId xmlns:p14="http://schemas.microsoft.com/office/powerpoint/2010/main" val="279569847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3"/>
          </p:nvPr>
        </p:nvSpPr>
        <p:spPr/>
        <p:txBody>
          <a:bodyPr/>
          <a:lstStyle/>
          <a:p>
            <a:endParaRPr lang="en-US" dirty="0"/>
          </a:p>
        </p:txBody>
      </p:sp>
      <p:sp>
        <p:nvSpPr>
          <p:cNvPr id="5" name="Footer Placeholder 4"/>
          <p:cNvSpPr>
            <a:spLocks noGrp="1"/>
          </p:cNvSpPr>
          <p:nvPr>
            <p:ph type="ftr" sz="quarter" idx="14"/>
          </p:nvPr>
        </p:nvSpPr>
        <p:spPr/>
        <p:txBody>
          <a:bodyPr/>
          <a:lstStyle/>
          <a:p>
            <a:r>
              <a:rPr lang="en-US"/>
              <a:t>File Name</a:t>
            </a:r>
            <a:endParaRPr lang="en-US" dirty="0"/>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Nr.›</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55078864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3" name="Title 2"/>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7"/>
          </p:nvPr>
        </p:nvSpPr>
        <p:spPr/>
        <p:txBody>
          <a:bodyPr/>
          <a:lstStyle/>
          <a:p>
            <a:endParaRPr lang="en-US" dirty="0"/>
          </a:p>
        </p:txBody>
      </p:sp>
      <p:sp>
        <p:nvSpPr>
          <p:cNvPr id="11" name="Footer Placeholder 10"/>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Nr.›</a:t>
            </a:fld>
            <a:endParaRPr lang="en-US" dirty="0"/>
          </a:p>
        </p:txBody>
      </p:sp>
    </p:spTree>
    <p:extLst>
      <p:ext uri="{BB962C8B-B14F-4D97-AF65-F5344CB8AC3E}">
        <p14:creationId xmlns:p14="http://schemas.microsoft.com/office/powerpoint/2010/main" val="357482974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7"/>
          </p:nvPr>
        </p:nvSpPr>
        <p:spPr/>
        <p:txBody>
          <a:bodyPr/>
          <a:lstStyle/>
          <a:p>
            <a:endParaRPr lang="en-US" dirty="0"/>
          </a:p>
        </p:txBody>
      </p:sp>
      <p:sp>
        <p:nvSpPr>
          <p:cNvPr id="5" name="Footer Placeholder 4"/>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Nr.›</a:t>
            </a:fld>
            <a:endParaRPr lang="en-US" dirty="0"/>
          </a:p>
        </p:txBody>
      </p:sp>
      <p:sp>
        <p:nvSpPr>
          <p:cNvPr id="13" name="Title 1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23779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r>
              <a:rPr lang="en-US"/>
              <a:t>File Name</a:t>
            </a:r>
            <a:endParaRPr lang="en-US" dirty="0"/>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16982551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82311238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8049701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87141989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dirty="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Tree>
    <p:extLst>
      <p:ext uri="{BB962C8B-B14F-4D97-AF65-F5344CB8AC3E}">
        <p14:creationId xmlns:p14="http://schemas.microsoft.com/office/powerpoint/2010/main" val="41540374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endParaRPr lang="en-US" dirty="0"/>
          </a:p>
        </p:txBody>
      </p:sp>
      <p:sp>
        <p:nvSpPr>
          <p:cNvPr id="10" name="Footer Placeholder 9"/>
          <p:cNvSpPr>
            <a:spLocks noGrp="1"/>
          </p:cNvSpPr>
          <p:nvPr>
            <p:ph type="ftr" sz="quarter" idx="16"/>
          </p:nvPr>
        </p:nvSpPr>
        <p:spPr/>
        <p:txBody>
          <a:bodyPr/>
          <a:lstStyle/>
          <a:p>
            <a:r>
              <a:rPr lang="en-US"/>
              <a:t>File Name</a:t>
            </a:r>
            <a:endParaRPr lang="en-US" dirty="0"/>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11929049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25191402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4"/>
          </p:nvPr>
        </p:nvSpPr>
        <p:spPr/>
        <p:txBody>
          <a:bodyPr/>
          <a:lstStyle/>
          <a:p>
            <a:endParaRPr lang="en-US" dirty="0"/>
          </a:p>
        </p:txBody>
      </p:sp>
      <p:sp>
        <p:nvSpPr>
          <p:cNvPr id="5" name="Footer Placeholder 4"/>
          <p:cNvSpPr>
            <a:spLocks noGrp="1"/>
          </p:cNvSpPr>
          <p:nvPr>
            <p:ph type="ftr" sz="quarter" idx="15"/>
          </p:nvPr>
        </p:nvSpPr>
        <p:spPr/>
        <p:txBody>
          <a:bodyPr/>
          <a:lstStyle/>
          <a:p>
            <a:r>
              <a:rPr lang="en-US"/>
              <a:t>File Name</a:t>
            </a:r>
            <a:endParaRPr lang="en-US" dirty="0"/>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de-DE"/>
              <a:t>Mastertitelformat bearbeiten</a:t>
            </a:r>
            <a:endParaRPr lang="en-US" dirty="0"/>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8623306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5900621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3222994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7323980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dirty="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dirty="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dirty="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58625117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9" name="Title 8"/>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866391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 with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6" name="Textfeld 5">
            <a:extLst>
              <a:ext uri="{FF2B5EF4-FFF2-40B4-BE49-F238E27FC236}">
                <a16:creationId xmlns:a16="http://schemas.microsoft.com/office/drawing/2014/main" id="{AE42BF1B-F344-4E1F-86A4-5DD36FAA68ED}"/>
              </a:ext>
            </a:extLst>
          </p:cNvPr>
          <p:cNvSpPr txBox="1"/>
          <p:nvPr userDrawn="1"/>
        </p:nvSpPr>
        <p:spPr>
          <a:xfrm>
            <a:off x="358775" y="889831"/>
            <a:ext cx="8426450" cy="1008109"/>
          </a:xfrm>
          <a:prstGeom prst="rect">
            <a:avLst/>
          </a:prstGeom>
          <a:noFill/>
        </p:spPr>
        <p:txBody>
          <a:bodyPr wrap="square" lIns="0" tIns="0" rIns="0" bIns="0" rtlCol="0">
            <a:noAutofit/>
          </a:bodyPr>
          <a:lstStyle/>
          <a:p>
            <a:pPr marL="0" indent="0" algn="ctr">
              <a:spcBef>
                <a:spcPts val="300"/>
              </a:spcBef>
              <a:spcAft>
                <a:spcPts val="300"/>
              </a:spcAft>
              <a:buClr>
                <a:schemeClr val="bg2"/>
              </a:buClr>
              <a:buFont typeface="Wingdings" pitchFamily="2" charset="2"/>
              <a:buNone/>
            </a:pPr>
            <a:r>
              <a:rPr lang="de-DE" sz="4000" b="1" noProof="1">
                <a:solidFill>
                  <a:schemeClr val="bg2"/>
                </a:solidFill>
              </a:rPr>
              <a:t>Thank you.</a:t>
            </a:r>
          </a:p>
        </p:txBody>
      </p:sp>
    </p:spTree>
    <p:extLst>
      <p:ext uri="{BB962C8B-B14F-4D97-AF65-F5344CB8AC3E}">
        <p14:creationId xmlns:p14="http://schemas.microsoft.com/office/powerpoint/2010/main" val="239764115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 Contac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DEA2027-55E0-42C6-ABC4-798A166E632C}"/>
              </a:ext>
            </a:extLst>
          </p:cNvPr>
          <p:cNvSpPr>
            <a:spLocks noGrp="1"/>
          </p:cNvSpPr>
          <p:nvPr>
            <p:ph type="pic" sz="quarter" idx="11"/>
          </p:nvPr>
        </p:nvSpPr>
        <p:spPr bwMode="gray">
          <a:xfrm>
            <a:off x="358598" y="1059582"/>
            <a:ext cx="1060493" cy="1515096"/>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Box 3">
            <a:extLst>
              <a:ext uri="{FF2B5EF4-FFF2-40B4-BE49-F238E27FC236}">
                <a16:creationId xmlns:a16="http://schemas.microsoft.com/office/drawing/2014/main" id="{DCFC9203-754B-4F3D-9C41-DE08F57D01AB}"/>
              </a:ext>
            </a:extLst>
          </p:cNvPr>
          <p:cNvSpPr txBox="1"/>
          <p:nvPr userDrawn="1"/>
        </p:nvSpPr>
        <p:spPr bwMode="gray">
          <a:xfrm>
            <a:off x="358598" y="411164"/>
            <a:ext cx="4105275" cy="468312"/>
          </a:xfrm>
          <a:prstGeom prst="rect">
            <a:avLst/>
          </a:prstGeom>
          <a:noFill/>
        </p:spPr>
        <p:txBody>
          <a:bodyPr wrap="square" lIns="0" tIns="144000" rIns="0" bIns="0" rtlCol="0">
            <a:noAutofit/>
          </a:bodyPr>
          <a:lstStyle/>
          <a:p>
            <a:pPr>
              <a:lnSpc>
                <a:spcPct val="90000"/>
              </a:lnSpc>
            </a:pPr>
            <a:r>
              <a:rPr lang="en-US" sz="2800" b="1" noProof="0" dirty="0">
                <a:solidFill>
                  <a:schemeClr val="bg2"/>
                </a:solidFill>
                <a:latin typeface="+mn-lt"/>
              </a:rPr>
              <a:t>Thank you.</a:t>
            </a:r>
          </a:p>
        </p:txBody>
      </p:sp>
      <p:sp>
        <p:nvSpPr>
          <p:cNvPr id="12" name="Textplatzhalter 9">
            <a:extLst>
              <a:ext uri="{FF2B5EF4-FFF2-40B4-BE49-F238E27FC236}">
                <a16:creationId xmlns:a16="http://schemas.microsoft.com/office/drawing/2014/main" id="{49B59AFC-FB01-412B-B058-68ACE717C8BA}"/>
              </a:ext>
            </a:extLst>
          </p:cNvPr>
          <p:cNvSpPr>
            <a:spLocks noGrp="1"/>
          </p:cNvSpPr>
          <p:nvPr>
            <p:ph type="body" sz="quarter" idx="12" hasCustomPrompt="1"/>
          </p:nvPr>
        </p:nvSpPr>
        <p:spPr bwMode="gray">
          <a:xfrm>
            <a:off x="1634991" y="1059582"/>
            <a:ext cx="7150233" cy="165663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defRPr/>
            </a:lvl8pPr>
            <a:lvl9pPr>
              <a:lnSpc>
                <a:spcPct val="90000"/>
              </a:lnSpc>
              <a:defRPr/>
            </a:lvl9p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850277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xplanations 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a:t>
            </a:r>
            <a:br>
              <a:rPr lang="en-US" sz="1200" baseline="0" noProof="1">
                <a:solidFill>
                  <a:schemeClr val="tx1"/>
                </a:solidFill>
              </a:rPr>
            </a:br>
            <a:r>
              <a:rPr lang="en-US" sz="1200" baseline="0" noProof="1">
                <a:solidFill>
                  <a:schemeClr val="tx1"/>
                </a:solidFill>
              </a:rPr>
              <a:t>the slide </a:t>
            </a:r>
            <a:r>
              <a:rPr lang="en-US" sz="1200" noProof="1">
                <a:solidFill>
                  <a:schemeClr val="tx1"/>
                </a:solidFill>
              </a:rPr>
              <a:t>(</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aseline="0" noProof="1">
                <a:solidFill>
                  <a:schemeClr val="tx1"/>
                </a:solidFill>
              </a:rPr>
              <a:t> |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0" baseline="0" noProof="1">
              <a:solidFill>
                <a:schemeClr val="tx1"/>
              </a:solidFill>
            </a:endParaRPr>
          </a:p>
          <a:p>
            <a:pPr algn="l">
              <a:lnSpc>
                <a:spcPct val="90000"/>
              </a:lnSpc>
            </a:pPr>
            <a:r>
              <a:rPr lang="en-US" sz="1200" b="0" baseline="0" noProof="1">
                <a:solidFill>
                  <a:schemeClr val="tx1"/>
                </a:solidFill>
              </a:rPr>
              <a:t>Or hit the right mouse button outside the slide and go at </a:t>
            </a:r>
            <a:r>
              <a:rPr lang="en-US" sz="1200" b="1" i="1" baseline="0" noProof="1">
                <a:solidFill>
                  <a:schemeClr val="tx1"/>
                </a:solidFill>
              </a:rPr>
              <a:t>„Grid and Guides…“</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dirty="0"/>
          </a:p>
        </p:txBody>
      </p:sp>
      <p:sp>
        <p:nvSpPr>
          <p:cNvPr id="8" name="TextBox 7"/>
          <p:cNvSpPr txBox="1"/>
          <p:nvPr userDrawn="1"/>
        </p:nvSpPr>
        <p:spPr bwMode="gray">
          <a:xfrm>
            <a:off x="3240089"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slide-layouts. </a:t>
            </a:r>
            <a:br>
              <a:rPr lang="en-US" sz="1200" baseline="0" noProof="1">
                <a:solidFill>
                  <a:schemeClr val="tx1"/>
                </a:solidFill>
              </a:rPr>
            </a:br>
            <a:r>
              <a:rPr lang="en-US" sz="1200" baseline="0" noProof="1">
                <a:solidFill>
                  <a:schemeClr val="tx1"/>
                </a:solidFill>
              </a:rPr>
              <a:t>These pre-defined layouts give you </a:t>
            </a:r>
            <a:br>
              <a:rPr lang="en-US" sz="1200" baseline="0" noProof="1">
                <a:solidFill>
                  <a:schemeClr val="tx1"/>
                </a:solidFill>
              </a:rPr>
            </a:br>
            <a:r>
              <a:rPr lang="en-US" sz="1200" baseline="0" noProof="1">
                <a:solidFill>
                  <a:schemeClr val="tx1"/>
                </a:solidFill>
              </a:rPr>
              <a:t>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baseline="0" noProof="1">
                <a:solidFill>
                  <a:schemeClr val="tx1"/>
                </a:solidFill>
              </a:rPr>
              <a:t>New Slide </a:t>
            </a:r>
            <a:br>
              <a:rPr lang="en-US" sz="1200" b="1" baseline="0" noProof="1">
                <a:solidFill>
                  <a:schemeClr val="tx1"/>
                </a:solidFill>
              </a:rPr>
            </a:br>
            <a:r>
              <a:rPr lang="en-US" sz="1200" b="1" baseline="0" noProof="1">
                <a:solidFill>
                  <a:schemeClr val="tx1"/>
                </a:solidFill>
              </a:rPr>
              <a:t>or Layout </a:t>
            </a:r>
            <a:r>
              <a:rPr lang="en-US" sz="1200" baseline="0" noProof="1">
                <a:solidFill>
                  <a:schemeClr val="tx1"/>
                </a:solidFill>
              </a:rPr>
              <a:t>| and choose one out of the layouts</a:t>
            </a:r>
            <a:endParaRPr lang="en-US" sz="1200" noProof="1">
              <a:solidFill>
                <a:schemeClr val="tx1"/>
              </a:solidFill>
            </a:endParaRP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Header and Footer | </a:t>
            </a:r>
            <a:endParaRPr lang="en-US" sz="1200" noProof="1">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106873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xplanations 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pic>
        <p:nvPicPr>
          <p:cNvPr id="17" name="Grafik 16">
            <a:extLst>
              <a:ext uri="{FF2B5EF4-FFF2-40B4-BE49-F238E27FC236}">
                <a16:creationId xmlns:a16="http://schemas.microsoft.com/office/drawing/2014/main" id="{C2DAA4D2-51EF-441F-BBD3-AA44AAF79AC7}"/>
              </a:ext>
            </a:extLst>
          </p:cNvPr>
          <p:cNvPicPr>
            <a:picLocks noChangeAspect="1"/>
          </p:cNvPicPr>
          <p:nvPr userDrawn="1"/>
        </p:nvPicPr>
        <p:blipFill>
          <a:blip r:embed="rId2"/>
          <a:stretch>
            <a:fillRect/>
          </a:stretch>
        </p:blipFill>
        <p:spPr>
          <a:xfrm>
            <a:off x="356395" y="879476"/>
            <a:ext cx="4106863" cy="2901855"/>
          </a:xfrm>
          <a:prstGeom prst="rect">
            <a:avLst/>
          </a:prstGeom>
        </p:spPr>
      </p:pic>
      <p:pic>
        <p:nvPicPr>
          <p:cNvPr id="18" name="Grafik 17">
            <a:extLst>
              <a:ext uri="{FF2B5EF4-FFF2-40B4-BE49-F238E27FC236}">
                <a16:creationId xmlns:a16="http://schemas.microsoft.com/office/drawing/2014/main" id="{B5594F73-A6F4-450D-880C-2FAB7F99C381}"/>
              </a:ext>
            </a:extLst>
          </p:cNvPr>
          <p:cNvPicPr>
            <a:picLocks noChangeAspect="1"/>
          </p:cNvPicPr>
          <p:nvPr userDrawn="1"/>
        </p:nvPicPr>
        <p:blipFill>
          <a:blip r:embed="rId3"/>
          <a:stretch>
            <a:fillRect/>
          </a:stretch>
        </p:blipFill>
        <p:spPr>
          <a:xfrm>
            <a:off x="4782654" y="2079928"/>
            <a:ext cx="3256654" cy="1831868"/>
          </a:xfrm>
          <a:prstGeom prst="rect">
            <a:avLst/>
          </a:prstGeom>
          <a:noFill/>
          <a:ln w="9525" algn="ctr">
            <a:solidFill>
              <a:schemeClr val="folHlink"/>
            </a:solidFill>
            <a:miter lim="800000"/>
            <a:headEnd/>
            <a:tailEnd/>
          </a:ln>
          <a:effectLst/>
        </p:spPr>
      </p:pic>
      <p:pic>
        <p:nvPicPr>
          <p:cNvPr id="19" name="Picture 4">
            <a:extLst>
              <a:ext uri="{FF2B5EF4-FFF2-40B4-BE49-F238E27FC236}">
                <a16:creationId xmlns:a16="http://schemas.microsoft.com/office/drawing/2014/main" id="{639B4DA4-A738-4963-B6D8-9CD151002B1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036373" y="234263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a:extLst>
              <a:ext uri="{FF2B5EF4-FFF2-40B4-BE49-F238E27FC236}">
                <a16:creationId xmlns:a16="http://schemas.microsoft.com/office/drawing/2014/main" id="{37BF6000-EC69-4B2F-B424-33313AD80B76}"/>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282472" y="2600863"/>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Box 1">
            <a:extLst>
              <a:ext uri="{FF2B5EF4-FFF2-40B4-BE49-F238E27FC236}">
                <a16:creationId xmlns:a16="http://schemas.microsoft.com/office/drawing/2014/main" id="{28B0788F-990E-4A80-AE17-579EA5C95693}"/>
              </a:ext>
            </a:extLst>
          </p:cNvPr>
          <p:cNvSpPr txBox="1"/>
          <p:nvPr userDrawn="1"/>
        </p:nvSpPr>
        <p:spPr bwMode="gray">
          <a:xfrm>
            <a:off x="4679949" y="879475"/>
            <a:ext cx="4105275" cy="1836737"/>
          </a:xfrm>
          <a:prstGeom prst="rect">
            <a:avLst/>
          </a:prstGeom>
          <a:noFill/>
        </p:spPr>
        <p:txBody>
          <a:bodyPr wrap="square" lIns="0" tIns="0" rIns="0" bIns="0" rtlCol="0">
            <a:noAutofit/>
          </a:bodyPr>
          <a:lstStyle/>
          <a:p>
            <a:r>
              <a:rPr lang="en-US" sz="1100" noProof="0" dirty="0"/>
              <a:t>If you wish to show only one segment, meaning either “</a:t>
            </a:r>
            <a:r>
              <a:rPr lang="en-US" sz="1100" noProof="0" dirty="0" err="1"/>
              <a:t>oerlikon</a:t>
            </a:r>
            <a:r>
              <a:rPr lang="en-US" sz="1100" noProof="0" dirty="0"/>
              <a:t> </a:t>
            </a:r>
            <a:r>
              <a:rPr lang="en-US" sz="1100" noProof="0" dirty="0" err="1"/>
              <a:t>barmag</a:t>
            </a:r>
            <a:r>
              <a:rPr lang="en-US" sz="1100" noProof="0" dirty="0"/>
              <a:t>”, “</a:t>
            </a:r>
            <a:r>
              <a:rPr lang="en-US" sz="1100" noProof="0" dirty="0" err="1"/>
              <a:t>oerlikon</a:t>
            </a:r>
            <a:r>
              <a:rPr lang="en-US" sz="1100" noProof="0" dirty="0"/>
              <a:t> </a:t>
            </a:r>
            <a:r>
              <a:rPr lang="en-US" sz="1100" noProof="0" dirty="0" err="1"/>
              <a:t>neumag</a:t>
            </a:r>
            <a:r>
              <a:rPr lang="en-US" sz="1100" noProof="0" dirty="0"/>
              <a:t>” or “</a:t>
            </a:r>
            <a:r>
              <a:rPr lang="en-US" sz="1100" noProof="0" dirty="0" err="1"/>
              <a:t>oerlikon</a:t>
            </a:r>
            <a:r>
              <a:rPr lang="en-US" sz="1100" noProof="0" dirty="0"/>
              <a:t> nonwoven”, you can simply do that. We have designed different slide masters for you.</a:t>
            </a:r>
          </a:p>
          <a:p>
            <a:endParaRPr lang="en-US" sz="1100" noProof="0" dirty="0"/>
          </a:p>
          <a:p>
            <a:r>
              <a:rPr lang="en-US" sz="1100" noProof="0" dirty="0"/>
              <a:t>Depending on the segment, just switch via “Home” &gt; “Layout” and choose your master.</a:t>
            </a:r>
          </a:p>
          <a:p>
            <a:endParaRPr lang="en-US" sz="1200" noProof="0" dirty="0"/>
          </a:p>
        </p:txBody>
      </p:sp>
      <p:pic>
        <p:nvPicPr>
          <p:cNvPr id="22" name="Picture 2">
            <a:extLst>
              <a:ext uri="{FF2B5EF4-FFF2-40B4-BE49-F238E27FC236}">
                <a16:creationId xmlns:a16="http://schemas.microsoft.com/office/drawing/2014/main" id="{CA945124-894E-4E07-BA1C-EC48C01B60C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28570" y="285908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312315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xplanations I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8775" y="879475"/>
            <a:ext cx="8426449" cy="1836737"/>
          </a:xfrm>
          <a:prstGeom prst="rect">
            <a:avLst/>
          </a:prstGeom>
          <a:noFill/>
        </p:spPr>
        <p:txBody>
          <a:bodyPr wrap="square" lIns="0" tIns="0" rIns="0" bIns="0" rtlCol="0">
            <a:noAutofit/>
          </a:bodyPr>
          <a:lstStyle/>
          <a:p>
            <a:r>
              <a:rPr lang="en-US" sz="1200" dirty="0"/>
              <a:t>You may also switch entire sections to another competence brand. </a:t>
            </a:r>
            <a:br>
              <a:rPr lang="en-US" sz="1200" dirty="0"/>
            </a:br>
            <a:r>
              <a:rPr lang="en-US" sz="1200" dirty="0"/>
              <a:t>If you haven’t done so far, please first copy all your slides into the respective brand template.</a:t>
            </a:r>
          </a:p>
          <a:p>
            <a:endParaRPr lang="en-US" sz="1200" dirty="0"/>
          </a:p>
          <a:p>
            <a:r>
              <a:rPr lang="en-US" sz="1200" dirty="0"/>
              <a:t>You may apply an competence brand either to several slides at once or to one slide at a time, depending on which competence brand you want to show. </a:t>
            </a:r>
            <a:r>
              <a:rPr lang="de-DE" sz="1200" dirty="0"/>
              <a:t>E.g. in </a:t>
            </a:r>
            <a:r>
              <a:rPr lang="de-DE" sz="1200" dirty="0" err="1"/>
              <a:t>the</a:t>
            </a:r>
            <a:r>
              <a:rPr lang="de-DE" sz="1200" dirty="0"/>
              <a:t> </a:t>
            </a:r>
            <a:r>
              <a:rPr lang="de-DE" sz="1200" dirty="0" err="1"/>
              <a:t>template</a:t>
            </a:r>
            <a:r>
              <a:rPr lang="de-DE" sz="1200" dirty="0"/>
              <a:t> </a:t>
            </a:r>
            <a:r>
              <a:rPr lang="de-DE" sz="1200" dirty="0" err="1"/>
              <a:t>for</a:t>
            </a:r>
            <a:r>
              <a:rPr lang="de-DE" sz="1200" dirty="0"/>
              <a:t> </a:t>
            </a:r>
            <a:r>
              <a:rPr lang="de-DE" sz="1200" dirty="0" err="1"/>
              <a:t>manmade</a:t>
            </a:r>
            <a:r>
              <a:rPr lang="de-DE" sz="1200" dirty="0"/>
              <a:t> </a:t>
            </a:r>
            <a:r>
              <a:rPr lang="de-DE" sz="1200" dirty="0" err="1"/>
              <a:t>fibers</a:t>
            </a:r>
            <a:r>
              <a:rPr lang="de-DE" sz="1200" dirty="0"/>
              <a:t> </a:t>
            </a:r>
            <a:r>
              <a:rPr lang="de-DE" sz="1200" dirty="0" err="1"/>
              <a:t>you</a:t>
            </a:r>
            <a:r>
              <a:rPr lang="de-DE" sz="1200" dirty="0"/>
              <a:t> </a:t>
            </a:r>
            <a:r>
              <a:rPr lang="de-DE" sz="1200" dirty="0" err="1"/>
              <a:t>can</a:t>
            </a:r>
            <a:r>
              <a:rPr lang="de-DE" sz="1200" dirty="0"/>
              <a:t> </a:t>
            </a:r>
            <a:r>
              <a:rPr lang="de-DE" sz="1200" dirty="0" err="1"/>
              <a:t>choose</a:t>
            </a:r>
            <a:r>
              <a:rPr lang="de-DE" sz="1200" dirty="0"/>
              <a:t> </a:t>
            </a:r>
            <a:r>
              <a:rPr lang="de-DE" sz="1200" dirty="0" err="1"/>
              <a:t>among</a:t>
            </a:r>
            <a:r>
              <a:rPr lang="de-DE" sz="1200" dirty="0"/>
              <a:t> 3 </a:t>
            </a:r>
            <a:r>
              <a:rPr lang="de-DE" sz="1200" dirty="0" err="1"/>
              <a:t>master</a:t>
            </a:r>
            <a:r>
              <a:rPr lang="de-DE" sz="1200" dirty="0"/>
              <a:t> </a:t>
            </a:r>
            <a:r>
              <a:rPr lang="de-DE" sz="1200" dirty="0" err="1"/>
              <a:t>styles</a:t>
            </a:r>
            <a:r>
              <a:rPr lang="de-DE" sz="1200" dirty="0"/>
              <a:t> – </a:t>
            </a:r>
            <a:br>
              <a:rPr lang="de-DE" sz="1200" dirty="0"/>
            </a:br>
            <a:r>
              <a:rPr lang="de-DE" sz="1200" dirty="0" err="1"/>
              <a:t>one</a:t>
            </a:r>
            <a:r>
              <a:rPr lang="de-DE" sz="1200" dirty="0"/>
              <a:t> </a:t>
            </a:r>
            <a:r>
              <a:rPr lang="de-DE" sz="1200" dirty="0" err="1"/>
              <a:t>including</a:t>
            </a:r>
            <a:r>
              <a:rPr lang="de-DE" sz="1200" dirty="0"/>
              <a:t> </a:t>
            </a:r>
            <a:r>
              <a:rPr lang="de-DE" sz="1200" dirty="0" err="1"/>
              <a:t>both</a:t>
            </a:r>
            <a:r>
              <a:rPr lang="de-DE" sz="1200" dirty="0"/>
              <a:t> </a:t>
            </a:r>
            <a:r>
              <a:rPr lang="de-DE" sz="1200" dirty="0" err="1"/>
              <a:t>brands</a:t>
            </a:r>
            <a:r>
              <a:rPr lang="de-DE" sz="1200" dirty="0"/>
              <a:t> </a:t>
            </a:r>
            <a:r>
              <a:rPr lang="de-DE" sz="1200" dirty="0" err="1"/>
              <a:t>and</a:t>
            </a:r>
            <a:r>
              <a:rPr lang="de-DE" sz="1200" dirty="0"/>
              <a:t> </a:t>
            </a:r>
            <a:r>
              <a:rPr lang="de-DE" sz="1200" dirty="0" err="1"/>
              <a:t>two</a:t>
            </a:r>
            <a:r>
              <a:rPr lang="de-DE" sz="1200" dirty="0"/>
              <a:t> </a:t>
            </a:r>
            <a:r>
              <a:rPr lang="de-DE" sz="1200" dirty="0" err="1"/>
              <a:t>with</a:t>
            </a:r>
            <a:r>
              <a:rPr lang="de-DE" sz="1200" dirty="0"/>
              <a:t> </a:t>
            </a:r>
            <a:r>
              <a:rPr lang="de-DE" sz="1200" dirty="0" err="1"/>
              <a:t>one</a:t>
            </a:r>
            <a:r>
              <a:rPr lang="de-DE" sz="1200" dirty="0"/>
              <a:t> </a:t>
            </a:r>
            <a:r>
              <a:rPr lang="de-DE" sz="1200" dirty="0" err="1"/>
              <a:t>brand</a:t>
            </a:r>
            <a:r>
              <a:rPr lang="de-DE" sz="1200" dirty="0"/>
              <a:t> </a:t>
            </a:r>
            <a:r>
              <a:rPr lang="de-DE" sz="1200" dirty="0" err="1"/>
              <a:t>only</a:t>
            </a:r>
            <a:r>
              <a:rPr lang="de-DE" sz="1200" dirty="0"/>
              <a:t>.</a:t>
            </a:r>
          </a:p>
          <a:p>
            <a:endParaRPr lang="de-DE" sz="1200" dirty="0"/>
          </a:p>
          <a:p>
            <a:r>
              <a:rPr lang="de-DE" sz="1200" dirty="0"/>
              <a:t>Just </a:t>
            </a:r>
            <a:r>
              <a:rPr lang="de-DE" sz="1200" dirty="0" err="1"/>
              <a:t>select</a:t>
            </a:r>
            <a:r>
              <a:rPr lang="de-DE" sz="1200" dirty="0"/>
              <a:t> </a:t>
            </a:r>
            <a:r>
              <a:rPr lang="de-DE" sz="1200" dirty="0" err="1"/>
              <a:t>the</a:t>
            </a:r>
            <a:r>
              <a:rPr lang="de-DE" sz="1200" dirty="0"/>
              <a:t> </a:t>
            </a:r>
            <a:r>
              <a:rPr lang="de-DE" sz="1200" dirty="0" err="1"/>
              <a:t>slide</a:t>
            </a:r>
            <a:r>
              <a:rPr lang="de-DE" sz="1200" dirty="0"/>
              <a:t>/s </a:t>
            </a:r>
            <a:r>
              <a:rPr lang="de-DE" sz="1200" dirty="0" err="1"/>
              <a:t>you</a:t>
            </a:r>
            <a:r>
              <a:rPr lang="de-DE" sz="1200" dirty="0"/>
              <a:t> </a:t>
            </a:r>
            <a:r>
              <a:rPr lang="de-DE" sz="1200" dirty="0" err="1"/>
              <a:t>want</a:t>
            </a:r>
            <a:r>
              <a:rPr lang="de-DE" sz="1200" dirty="0"/>
              <a:t> </a:t>
            </a:r>
            <a:r>
              <a:rPr lang="de-DE" sz="1200" dirty="0" err="1"/>
              <a:t>to</a:t>
            </a:r>
            <a:r>
              <a:rPr lang="de-DE" sz="1200" dirty="0"/>
              <a:t> </a:t>
            </a:r>
            <a:r>
              <a:rPr lang="de-DE" sz="1200" dirty="0" err="1"/>
              <a:t>change</a:t>
            </a:r>
            <a:r>
              <a:rPr lang="de-DE" sz="1200" dirty="0"/>
              <a:t>, </a:t>
            </a:r>
            <a:r>
              <a:rPr lang="de-DE" sz="1200" dirty="0" err="1"/>
              <a:t>go</a:t>
            </a:r>
            <a:r>
              <a:rPr lang="de-DE" sz="1200" dirty="0"/>
              <a:t> </a:t>
            </a:r>
            <a:r>
              <a:rPr lang="de-DE" sz="1200" dirty="0" err="1"/>
              <a:t>to</a:t>
            </a:r>
            <a:r>
              <a:rPr lang="de-DE" sz="1200" dirty="0"/>
              <a:t> Design </a:t>
            </a:r>
            <a:r>
              <a:rPr lang="de-DE" sz="1200" dirty="0" err="1"/>
              <a:t>and</a:t>
            </a:r>
            <a:r>
              <a:rPr lang="de-DE" sz="1200" dirty="0"/>
              <a:t> </a:t>
            </a:r>
            <a:r>
              <a:rPr lang="de-DE" sz="1200" dirty="0" err="1"/>
              <a:t>choose</a:t>
            </a:r>
            <a:r>
              <a:rPr lang="de-DE" sz="1200" dirty="0"/>
              <a:t> </a:t>
            </a:r>
            <a:r>
              <a:rPr lang="de-DE" sz="1200" dirty="0" err="1"/>
              <a:t>the</a:t>
            </a:r>
            <a:r>
              <a:rPr lang="de-DE" sz="1200" dirty="0"/>
              <a:t> </a:t>
            </a:r>
            <a:r>
              <a:rPr lang="en-US" sz="1200" dirty="0"/>
              <a:t>“theme” you want to use. </a:t>
            </a:r>
            <a:br>
              <a:rPr lang="en-US" sz="1200" dirty="0"/>
            </a:br>
            <a:r>
              <a:rPr lang="en-US" sz="1200" dirty="0"/>
              <a:t>Please only use the first 3 themes with the different competence brand logos.</a:t>
            </a:r>
          </a:p>
          <a:p>
            <a:endParaRPr lang="en-US" sz="1200" dirty="0"/>
          </a:p>
        </p:txBody>
      </p:sp>
      <p:pic>
        <p:nvPicPr>
          <p:cNvPr id="1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8775" y="2859088"/>
            <a:ext cx="2773065" cy="1127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699452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3"/>
          </p:nvPr>
        </p:nvSpPr>
        <p:spPr/>
        <p:txBody>
          <a:bodyPr/>
          <a:lstStyle/>
          <a:p>
            <a:endParaRPr lang="en-US" dirty="0"/>
          </a:p>
        </p:txBody>
      </p:sp>
      <p:sp>
        <p:nvSpPr>
          <p:cNvPr id="5" name="Footer Placeholder 4"/>
          <p:cNvSpPr>
            <a:spLocks noGrp="1"/>
          </p:cNvSpPr>
          <p:nvPr>
            <p:ph type="ftr" sz="quarter" idx="14"/>
          </p:nvPr>
        </p:nvSpPr>
        <p:spPr/>
        <p:txBody>
          <a:bodyPr/>
          <a:lstStyle/>
          <a:p>
            <a:r>
              <a:rPr lang="en-US"/>
              <a:t>File Name</a:t>
            </a:r>
            <a:endParaRPr lang="en-US" dirty="0"/>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Nr.›</a:t>
            </a:fld>
            <a:endParaRPr lang="en-US" dirty="0"/>
          </a:p>
        </p:txBody>
      </p:sp>
      <p:sp>
        <p:nvSpPr>
          <p:cNvPr id="13" name="Title 12"/>
          <p:cNvSpPr>
            <a:spLocks noGrp="1"/>
          </p:cNvSpPr>
          <p:nvPr>
            <p:ph type="title"/>
          </p:nvPr>
        </p:nvSpPr>
        <p:spPr/>
        <p:txBody>
          <a:bodyPr/>
          <a:lstStyle/>
          <a:p>
            <a:r>
              <a:rPr lang="de-DE"/>
              <a:t>Mastertitelformat bearbeiten</a:t>
            </a:r>
            <a:endParaRPr lang="en-US"/>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26099272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a:t>
            </a:r>
            <a:br>
              <a:rPr lang="en-US" noProof="0" dirty="0"/>
            </a:br>
            <a:r>
              <a:rPr lang="en-US" noProof="0" dirty="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8145489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subtitle of the presentation</a:t>
            </a:r>
          </a:p>
        </p:txBody>
      </p:sp>
    </p:spTree>
    <p:extLst>
      <p:ext uri="{BB962C8B-B14F-4D97-AF65-F5344CB8AC3E}">
        <p14:creationId xmlns:p14="http://schemas.microsoft.com/office/powerpoint/2010/main" val="205061343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File Name</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Nr.›</a:t>
            </a:fld>
            <a:endParaRPr lang="en-US" noProof="0"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2423690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4"/>
          </p:nvPr>
        </p:nvSpPr>
        <p:spPr/>
        <p:txBody>
          <a:bodyPr/>
          <a:lstStyle/>
          <a:p>
            <a:endParaRPr lang="en-US" dirty="0"/>
          </a:p>
        </p:txBody>
      </p:sp>
      <p:sp>
        <p:nvSpPr>
          <p:cNvPr id="5" name="Footer Placeholder 4"/>
          <p:cNvSpPr>
            <a:spLocks noGrp="1"/>
          </p:cNvSpPr>
          <p:nvPr>
            <p:ph type="ftr" sz="quarter" idx="15"/>
          </p:nvPr>
        </p:nvSpPr>
        <p:spPr/>
        <p:txBody>
          <a:bodyPr/>
          <a:lstStyle/>
          <a:p>
            <a:r>
              <a:rPr lang="en-US"/>
              <a:t>File Name</a:t>
            </a:r>
            <a:endParaRPr lang="en-US" dirty="0"/>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en-US" dirty="0"/>
              <a:t>Click to edit Master title style</a:t>
            </a:r>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86437341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3"/>
          </p:nvPr>
        </p:nvSpPr>
        <p:spPr/>
        <p:txBody>
          <a:bodyPr/>
          <a:lstStyle/>
          <a:p>
            <a:endParaRPr lang="en-US" dirty="0"/>
          </a:p>
        </p:txBody>
      </p:sp>
      <p:sp>
        <p:nvSpPr>
          <p:cNvPr id="5" name="Footer Placeholder 4"/>
          <p:cNvSpPr>
            <a:spLocks noGrp="1"/>
          </p:cNvSpPr>
          <p:nvPr>
            <p:ph type="ftr" sz="quarter" idx="14"/>
          </p:nvPr>
        </p:nvSpPr>
        <p:spPr/>
        <p:txBody>
          <a:bodyPr/>
          <a:lstStyle/>
          <a:p>
            <a:r>
              <a:rPr lang="en-US"/>
              <a:t>File Name</a:t>
            </a:r>
            <a:endParaRPr lang="en-US" dirty="0"/>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Nr.›</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31714374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3" name="Title 2"/>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7"/>
          </p:nvPr>
        </p:nvSpPr>
        <p:spPr/>
        <p:txBody>
          <a:bodyPr/>
          <a:lstStyle/>
          <a:p>
            <a:endParaRPr lang="en-US" dirty="0"/>
          </a:p>
        </p:txBody>
      </p:sp>
      <p:sp>
        <p:nvSpPr>
          <p:cNvPr id="11" name="Footer Placeholder 10"/>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Nr.›</a:t>
            </a:fld>
            <a:endParaRPr lang="en-US" dirty="0"/>
          </a:p>
        </p:txBody>
      </p:sp>
    </p:spTree>
    <p:extLst>
      <p:ext uri="{BB962C8B-B14F-4D97-AF65-F5344CB8AC3E}">
        <p14:creationId xmlns:p14="http://schemas.microsoft.com/office/powerpoint/2010/main" val="71508527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7"/>
          </p:nvPr>
        </p:nvSpPr>
        <p:spPr/>
        <p:txBody>
          <a:bodyPr/>
          <a:lstStyle/>
          <a:p>
            <a:endParaRPr lang="en-US" dirty="0"/>
          </a:p>
        </p:txBody>
      </p:sp>
      <p:sp>
        <p:nvSpPr>
          <p:cNvPr id="5" name="Footer Placeholder 4"/>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Nr.›</a:t>
            </a:fld>
            <a:endParaRPr lang="en-US" dirty="0"/>
          </a:p>
        </p:txBody>
      </p:sp>
      <p:sp>
        <p:nvSpPr>
          <p:cNvPr id="13" name="Title 1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419153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r>
              <a:rPr lang="en-US"/>
              <a:t>File Name</a:t>
            </a:r>
            <a:endParaRPr lang="en-US" dirty="0"/>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35742463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83365849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41052864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3" name="Title 2"/>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7"/>
          </p:nvPr>
        </p:nvSpPr>
        <p:spPr/>
        <p:txBody>
          <a:bodyPr/>
          <a:lstStyle/>
          <a:p>
            <a:endParaRPr lang="en-US" dirty="0"/>
          </a:p>
        </p:txBody>
      </p:sp>
      <p:sp>
        <p:nvSpPr>
          <p:cNvPr id="11" name="Footer Placeholder 10"/>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Nr.›</a:t>
            </a:fld>
            <a:endParaRPr lang="en-US" dirty="0"/>
          </a:p>
        </p:txBody>
      </p:sp>
    </p:spTree>
    <p:extLst>
      <p:ext uri="{BB962C8B-B14F-4D97-AF65-F5344CB8AC3E}">
        <p14:creationId xmlns:p14="http://schemas.microsoft.com/office/powerpoint/2010/main" val="118712735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63663625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dirty="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Tree>
    <p:extLst>
      <p:ext uri="{BB962C8B-B14F-4D97-AF65-F5344CB8AC3E}">
        <p14:creationId xmlns:p14="http://schemas.microsoft.com/office/powerpoint/2010/main" val="1096343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endParaRPr lang="en-US" dirty="0"/>
          </a:p>
        </p:txBody>
      </p:sp>
      <p:sp>
        <p:nvSpPr>
          <p:cNvPr id="10" name="Footer Placeholder 9"/>
          <p:cNvSpPr>
            <a:spLocks noGrp="1"/>
          </p:cNvSpPr>
          <p:nvPr>
            <p:ph type="ftr" sz="quarter" idx="16"/>
          </p:nvPr>
        </p:nvSpPr>
        <p:spPr/>
        <p:txBody>
          <a:bodyPr/>
          <a:lstStyle/>
          <a:p>
            <a:r>
              <a:rPr lang="en-US"/>
              <a:t>File Name</a:t>
            </a:r>
            <a:endParaRPr lang="en-US" dirty="0"/>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76378957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65409760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341722813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51791738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40697042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dirty="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dirty="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dirty="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3257634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9" name="Title 8"/>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1224988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 with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6" name="Textfeld 5">
            <a:extLst>
              <a:ext uri="{FF2B5EF4-FFF2-40B4-BE49-F238E27FC236}">
                <a16:creationId xmlns:a16="http://schemas.microsoft.com/office/drawing/2014/main" id="{AE42BF1B-F344-4E1F-86A4-5DD36FAA68ED}"/>
              </a:ext>
            </a:extLst>
          </p:cNvPr>
          <p:cNvSpPr txBox="1"/>
          <p:nvPr userDrawn="1"/>
        </p:nvSpPr>
        <p:spPr>
          <a:xfrm>
            <a:off x="358775" y="889831"/>
            <a:ext cx="8426450" cy="1008109"/>
          </a:xfrm>
          <a:prstGeom prst="rect">
            <a:avLst/>
          </a:prstGeom>
          <a:noFill/>
        </p:spPr>
        <p:txBody>
          <a:bodyPr wrap="square" lIns="0" tIns="0" rIns="0" bIns="0" rtlCol="0">
            <a:noAutofit/>
          </a:bodyPr>
          <a:lstStyle/>
          <a:p>
            <a:pPr marL="0" indent="0" algn="ctr">
              <a:spcBef>
                <a:spcPts val="300"/>
              </a:spcBef>
              <a:spcAft>
                <a:spcPts val="300"/>
              </a:spcAft>
              <a:buClr>
                <a:schemeClr val="bg2"/>
              </a:buClr>
              <a:buFont typeface="Wingdings" pitchFamily="2" charset="2"/>
              <a:buNone/>
            </a:pPr>
            <a:r>
              <a:rPr lang="de-DE" sz="4000" b="1" noProof="1">
                <a:solidFill>
                  <a:schemeClr val="bg2"/>
                </a:solidFill>
              </a:rPr>
              <a:t>Thank you.</a:t>
            </a:r>
          </a:p>
        </p:txBody>
      </p:sp>
    </p:spTree>
    <p:extLst>
      <p:ext uri="{BB962C8B-B14F-4D97-AF65-F5344CB8AC3E}">
        <p14:creationId xmlns:p14="http://schemas.microsoft.com/office/powerpoint/2010/main" val="42046075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7"/>
          </p:nvPr>
        </p:nvSpPr>
        <p:spPr/>
        <p:txBody>
          <a:bodyPr/>
          <a:lstStyle/>
          <a:p>
            <a:endParaRPr lang="en-US" dirty="0"/>
          </a:p>
        </p:txBody>
      </p:sp>
      <p:sp>
        <p:nvSpPr>
          <p:cNvPr id="5" name="Footer Placeholder 4"/>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Nr.›</a:t>
            </a:fld>
            <a:endParaRPr lang="en-US" dirty="0"/>
          </a:p>
        </p:txBody>
      </p:sp>
      <p:sp>
        <p:nvSpPr>
          <p:cNvPr id="13" name="Title 12"/>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287000650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 Contac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DEA2027-55E0-42C6-ABC4-798A166E632C}"/>
              </a:ext>
            </a:extLst>
          </p:cNvPr>
          <p:cNvSpPr>
            <a:spLocks noGrp="1"/>
          </p:cNvSpPr>
          <p:nvPr>
            <p:ph type="pic" sz="quarter" idx="11"/>
          </p:nvPr>
        </p:nvSpPr>
        <p:spPr bwMode="gray">
          <a:xfrm>
            <a:off x="358598" y="1059582"/>
            <a:ext cx="1060493" cy="1515096"/>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Box 3">
            <a:extLst>
              <a:ext uri="{FF2B5EF4-FFF2-40B4-BE49-F238E27FC236}">
                <a16:creationId xmlns:a16="http://schemas.microsoft.com/office/drawing/2014/main" id="{DCFC9203-754B-4F3D-9C41-DE08F57D01AB}"/>
              </a:ext>
            </a:extLst>
          </p:cNvPr>
          <p:cNvSpPr txBox="1"/>
          <p:nvPr userDrawn="1"/>
        </p:nvSpPr>
        <p:spPr bwMode="gray">
          <a:xfrm>
            <a:off x="358598" y="411164"/>
            <a:ext cx="4105275" cy="468312"/>
          </a:xfrm>
          <a:prstGeom prst="rect">
            <a:avLst/>
          </a:prstGeom>
          <a:noFill/>
        </p:spPr>
        <p:txBody>
          <a:bodyPr wrap="square" lIns="0" tIns="144000" rIns="0" bIns="0" rtlCol="0">
            <a:noAutofit/>
          </a:bodyPr>
          <a:lstStyle/>
          <a:p>
            <a:pPr>
              <a:lnSpc>
                <a:spcPct val="90000"/>
              </a:lnSpc>
            </a:pPr>
            <a:r>
              <a:rPr lang="en-US" sz="2800" b="1" noProof="0" dirty="0">
                <a:solidFill>
                  <a:schemeClr val="bg2"/>
                </a:solidFill>
                <a:latin typeface="+mn-lt"/>
              </a:rPr>
              <a:t>Thank you.</a:t>
            </a:r>
          </a:p>
        </p:txBody>
      </p:sp>
      <p:sp>
        <p:nvSpPr>
          <p:cNvPr id="12" name="Textplatzhalter 9">
            <a:extLst>
              <a:ext uri="{FF2B5EF4-FFF2-40B4-BE49-F238E27FC236}">
                <a16:creationId xmlns:a16="http://schemas.microsoft.com/office/drawing/2014/main" id="{49B59AFC-FB01-412B-B058-68ACE717C8BA}"/>
              </a:ext>
            </a:extLst>
          </p:cNvPr>
          <p:cNvSpPr>
            <a:spLocks noGrp="1"/>
          </p:cNvSpPr>
          <p:nvPr>
            <p:ph type="body" sz="quarter" idx="12" hasCustomPrompt="1"/>
          </p:nvPr>
        </p:nvSpPr>
        <p:spPr bwMode="gray">
          <a:xfrm>
            <a:off x="1634991" y="1059582"/>
            <a:ext cx="7150233" cy="165663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defRPr/>
            </a:lvl8pPr>
            <a:lvl9pPr>
              <a:lnSpc>
                <a:spcPct val="90000"/>
              </a:lnSpc>
              <a:defRPr/>
            </a:lvl9p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184012228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xplanations 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a:t>
            </a:r>
            <a:br>
              <a:rPr lang="en-US" sz="1200" baseline="0" noProof="1">
                <a:solidFill>
                  <a:schemeClr val="tx1"/>
                </a:solidFill>
              </a:rPr>
            </a:br>
            <a:r>
              <a:rPr lang="en-US" sz="1200" baseline="0" noProof="1">
                <a:solidFill>
                  <a:schemeClr val="tx1"/>
                </a:solidFill>
              </a:rPr>
              <a:t>the slide </a:t>
            </a:r>
            <a:r>
              <a:rPr lang="en-US" sz="1200" noProof="1">
                <a:solidFill>
                  <a:schemeClr val="tx1"/>
                </a:solidFill>
              </a:rPr>
              <a:t>(</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aseline="0" noProof="1">
                <a:solidFill>
                  <a:schemeClr val="tx1"/>
                </a:solidFill>
              </a:rPr>
              <a:t> |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0" baseline="0" noProof="1">
              <a:solidFill>
                <a:schemeClr val="tx1"/>
              </a:solidFill>
            </a:endParaRPr>
          </a:p>
          <a:p>
            <a:pPr algn="l">
              <a:lnSpc>
                <a:spcPct val="90000"/>
              </a:lnSpc>
            </a:pPr>
            <a:r>
              <a:rPr lang="en-US" sz="1200" b="0" baseline="0" noProof="1">
                <a:solidFill>
                  <a:schemeClr val="tx1"/>
                </a:solidFill>
              </a:rPr>
              <a:t>Or hit the right mouse button outside the slide and go at </a:t>
            </a:r>
            <a:r>
              <a:rPr lang="en-US" sz="1200" b="1" i="1" baseline="0" noProof="1">
                <a:solidFill>
                  <a:schemeClr val="tx1"/>
                </a:solidFill>
              </a:rPr>
              <a:t>„Grid and Guides…“</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dirty="0"/>
          </a:p>
        </p:txBody>
      </p:sp>
      <p:sp>
        <p:nvSpPr>
          <p:cNvPr id="8" name="TextBox 7"/>
          <p:cNvSpPr txBox="1"/>
          <p:nvPr userDrawn="1"/>
        </p:nvSpPr>
        <p:spPr bwMode="gray">
          <a:xfrm>
            <a:off x="3240089"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slide-layouts. </a:t>
            </a:r>
            <a:br>
              <a:rPr lang="en-US" sz="1200" baseline="0" noProof="1">
                <a:solidFill>
                  <a:schemeClr val="tx1"/>
                </a:solidFill>
              </a:rPr>
            </a:br>
            <a:r>
              <a:rPr lang="en-US" sz="1200" baseline="0" noProof="1">
                <a:solidFill>
                  <a:schemeClr val="tx1"/>
                </a:solidFill>
              </a:rPr>
              <a:t>These pre-defined layouts give you </a:t>
            </a:r>
            <a:br>
              <a:rPr lang="en-US" sz="1200" baseline="0" noProof="1">
                <a:solidFill>
                  <a:schemeClr val="tx1"/>
                </a:solidFill>
              </a:rPr>
            </a:br>
            <a:r>
              <a:rPr lang="en-US" sz="1200" baseline="0" noProof="1">
                <a:solidFill>
                  <a:schemeClr val="tx1"/>
                </a:solidFill>
              </a:rPr>
              <a:t>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baseline="0" noProof="1">
                <a:solidFill>
                  <a:schemeClr val="tx1"/>
                </a:solidFill>
              </a:rPr>
              <a:t>New Slide </a:t>
            </a:r>
            <a:br>
              <a:rPr lang="en-US" sz="1200" b="1" baseline="0" noProof="1">
                <a:solidFill>
                  <a:schemeClr val="tx1"/>
                </a:solidFill>
              </a:rPr>
            </a:br>
            <a:r>
              <a:rPr lang="en-US" sz="1200" b="1" baseline="0" noProof="1">
                <a:solidFill>
                  <a:schemeClr val="tx1"/>
                </a:solidFill>
              </a:rPr>
              <a:t>or Layout </a:t>
            </a:r>
            <a:r>
              <a:rPr lang="en-US" sz="1200" baseline="0" noProof="1">
                <a:solidFill>
                  <a:schemeClr val="tx1"/>
                </a:solidFill>
              </a:rPr>
              <a:t>| and choose one out of the layouts</a:t>
            </a:r>
            <a:endParaRPr lang="en-US" sz="1200" noProof="1">
              <a:solidFill>
                <a:schemeClr val="tx1"/>
              </a:solidFill>
            </a:endParaRP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Header and Footer | </a:t>
            </a:r>
            <a:endParaRPr lang="en-US" sz="1200" noProof="1">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6407521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xplanations 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pic>
        <p:nvPicPr>
          <p:cNvPr id="11" name="Grafik 10">
            <a:extLst>
              <a:ext uri="{FF2B5EF4-FFF2-40B4-BE49-F238E27FC236}">
                <a16:creationId xmlns:a16="http://schemas.microsoft.com/office/drawing/2014/main" id="{5B83F509-7966-4B8E-9A73-A54D5AB54DC6}"/>
              </a:ext>
            </a:extLst>
          </p:cNvPr>
          <p:cNvPicPr>
            <a:picLocks noChangeAspect="1"/>
          </p:cNvPicPr>
          <p:nvPr userDrawn="1"/>
        </p:nvPicPr>
        <p:blipFill>
          <a:blip r:embed="rId2"/>
          <a:stretch>
            <a:fillRect/>
          </a:stretch>
        </p:blipFill>
        <p:spPr>
          <a:xfrm>
            <a:off x="356395" y="879476"/>
            <a:ext cx="4106863" cy="2901855"/>
          </a:xfrm>
          <a:prstGeom prst="rect">
            <a:avLst/>
          </a:prstGeom>
        </p:spPr>
      </p:pic>
      <p:pic>
        <p:nvPicPr>
          <p:cNvPr id="12" name="Grafik 11">
            <a:extLst>
              <a:ext uri="{FF2B5EF4-FFF2-40B4-BE49-F238E27FC236}">
                <a16:creationId xmlns:a16="http://schemas.microsoft.com/office/drawing/2014/main" id="{5F8B0FF6-425B-4D13-848E-1FF0F1CD3343}"/>
              </a:ext>
            </a:extLst>
          </p:cNvPr>
          <p:cNvPicPr>
            <a:picLocks noChangeAspect="1"/>
          </p:cNvPicPr>
          <p:nvPr userDrawn="1"/>
        </p:nvPicPr>
        <p:blipFill>
          <a:blip r:embed="rId3"/>
          <a:stretch>
            <a:fillRect/>
          </a:stretch>
        </p:blipFill>
        <p:spPr>
          <a:xfrm>
            <a:off x="4782654" y="2079928"/>
            <a:ext cx="3256654" cy="1831868"/>
          </a:xfrm>
          <a:prstGeom prst="rect">
            <a:avLst/>
          </a:prstGeom>
          <a:noFill/>
          <a:ln w="9525" algn="ctr">
            <a:solidFill>
              <a:schemeClr val="folHlink"/>
            </a:solidFill>
            <a:miter lim="800000"/>
            <a:headEnd/>
            <a:tailEnd/>
          </a:ln>
          <a:effectLst/>
        </p:spPr>
      </p:pic>
      <p:pic>
        <p:nvPicPr>
          <p:cNvPr id="13" name="Picture 4">
            <a:extLst>
              <a:ext uri="{FF2B5EF4-FFF2-40B4-BE49-F238E27FC236}">
                <a16:creationId xmlns:a16="http://schemas.microsoft.com/office/drawing/2014/main" id="{6B9B0A20-F625-4C90-A6C6-56F23997119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036373" y="234263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
            <a:extLst>
              <a:ext uri="{FF2B5EF4-FFF2-40B4-BE49-F238E27FC236}">
                <a16:creationId xmlns:a16="http://schemas.microsoft.com/office/drawing/2014/main" id="{F935199B-6D35-4459-805A-D67C81AD6F3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282472" y="2600863"/>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
            <a:extLst>
              <a:ext uri="{FF2B5EF4-FFF2-40B4-BE49-F238E27FC236}">
                <a16:creationId xmlns:a16="http://schemas.microsoft.com/office/drawing/2014/main" id="{7D711B52-4DF2-483E-A1FA-F04E46964B1A}"/>
              </a:ext>
            </a:extLst>
          </p:cNvPr>
          <p:cNvSpPr txBox="1"/>
          <p:nvPr userDrawn="1"/>
        </p:nvSpPr>
        <p:spPr bwMode="gray">
          <a:xfrm>
            <a:off x="4679949" y="879475"/>
            <a:ext cx="4105275" cy="1836737"/>
          </a:xfrm>
          <a:prstGeom prst="rect">
            <a:avLst/>
          </a:prstGeom>
          <a:noFill/>
        </p:spPr>
        <p:txBody>
          <a:bodyPr wrap="square" lIns="0" tIns="0" rIns="0" bIns="0" rtlCol="0">
            <a:noAutofit/>
          </a:bodyPr>
          <a:lstStyle/>
          <a:p>
            <a:r>
              <a:rPr lang="en-US" sz="1100" noProof="0" dirty="0"/>
              <a:t>If you wish to show only one segment, meaning either “</a:t>
            </a:r>
            <a:r>
              <a:rPr lang="en-US" sz="1100" noProof="0" dirty="0" err="1"/>
              <a:t>oerlikon</a:t>
            </a:r>
            <a:r>
              <a:rPr lang="en-US" sz="1100" noProof="0" dirty="0"/>
              <a:t> </a:t>
            </a:r>
            <a:r>
              <a:rPr lang="en-US" sz="1100" noProof="0" dirty="0" err="1"/>
              <a:t>barmag</a:t>
            </a:r>
            <a:r>
              <a:rPr lang="en-US" sz="1100" noProof="0" dirty="0"/>
              <a:t>”, “</a:t>
            </a:r>
            <a:r>
              <a:rPr lang="en-US" sz="1100" noProof="0" dirty="0" err="1"/>
              <a:t>oerlikon</a:t>
            </a:r>
            <a:r>
              <a:rPr lang="en-US" sz="1100" noProof="0" dirty="0"/>
              <a:t> </a:t>
            </a:r>
            <a:r>
              <a:rPr lang="en-US" sz="1100" noProof="0" dirty="0" err="1"/>
              <a:t>neumag</a:t>
            </a:r>
            <a:r>
              <a:rPr lang="en-US" sz="1100" noProof="0" dirty="0"/>
              <a:t>” or “</a:t>
            </a:r>
            <a:r>
              <a:rPr lang="en-US" sz="1100" noProof="0" dirty="0" err="1"/>
              <a:t>oerlikon</a:t>
            </a:r>
            <a:r>
              <a:rPr lang="en-US" sz="1100" noProof="0" dirty="0"/>
              <a:t> nonwoven”, you can simply do that. We have designed different slide masters for you.</a:t>
            </a:r>
          </a:p>
          <a:p>
            <a:endParaRPr lang="en-US" sz="1100" noProof="0" dirty="0"/>
          </a:p>
          <a:p>
            <a:r>
              <a:rPr lang="en-US" sz="1100" noProof="0" dirty="0"/>
              <a:t>Depending on the segment, just switch via “Home” &gt; “Layout” and choose your master.</a:t>
            </a:r>
          </a:p>
          <a:p>
            <a:endParaRPr lang="en-US" sz="1200" noProof="0" dirty="0"/>
          </a:p>
        </p:txBody>
      </p:sp>
      <p:pic>
        <p:nvPicPr>
          <p:cNvPr id="16" name="Picture 2">
            <a:extLst>
              <a:ext uri="{FF2B5EF4-FFF2-40B4-BE49-F238E27FC236}">
                <a16:creationId xmlns:a16="http://schemas.microsoft.com/office/drawing/2014/main" id="{D783D11C-570A-46B0-87B4-AEC390E75FC1}"/>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28570" y="285908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312315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xplanations I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8775" y="879475"/>
            <a:ext cx="8426449" cy="1836737"/>
          </a:xfrm>
          <a:prstGeom prst="rect">
            <a:avLst/>
          </a:prstGeom>
          <a:noFill/>
        </p:spPr>
        <p:txBody>
          <a:bodyPr wrap="square" lIns="0" tIns="0" rIns="0" bIns="0" rtlCol="0">
            <a:noAutofit/>
          </a:bodyPr>
          <a:lstStyle/>
          <a:p>
            <a:r>
              <a:rPr lang="en-US" sz="1200" dirty="0"/>
              <a:t>You may also switch entire sections to another competence brand. </a:t>
            </a:r>
            <a:br>
              <a:rPr lang="en-US" sz="1200" dirty="0"/>
            </a:br>
            <a:r>
              <a:rPr lang="en-US" sz="1200" dirty="0"/>
              <a:t>If you haven’t done so far, please first copy all your slides into the respective brand template.</a:t>
            </a:r>
          </a:p>
          <a:p>
            <a:endParaRPr lang="en-US" sz="1200" dirty="0"/>
          </a:p>
          <a:p>
            <a:r>
              <a:rPr lang="en-US" sz="1200" dirty="0"/>
              <a:t>You may apply an competence brand either to several slides at once or to one slide at a time, depending on which competence brand you want to show. </a:t>
            </a:r>
            <a:r>
              <a:rPr lang="de-DE" sz="1200" dirty="0"/>
              <a:t>E.g. in </a:t>
            </a:r>
            <a:r>
              <a:rPr lang="de-DE" sz="1200" dirty="0" err="1"/>
              <a:t>the</a:t>
            </a:r>
            <a:r>
              <a:rPr lang="de-DE" sz="1200" dirty="0"/>
              <a:t> </a:t>
            </a:r>
            <a:r>
              <a:rPr lang="de-DE" sz="1200" dirty="0" err="1"/>
              <a:t>template</a:t>
            </a:r>
            <a:r>
              <a:rPr lang="de-DE" sz="1200" dirty="0"/>
              <a:t> </a:t>
            </a:r>
            <a:r>
              <a:rPr lang="de-DE" sz="1200" dirty="0" err="1"/>
              <a:t>for</a:t>
            </a:r>
            <a:r>
              <a:rPr lang="de-DE" sz="1200" dirty="0"/>
              <a:t> </a:t>
            </a:r>
            <a:r>
              <a:rPr lang="de-DE" sz="1200" dirty="0" err="1"/>
              <a:t>manmade</a:t>
            </a:r>
            <a:r>
              <a:rPr lang="de-DE" sz="1200" dirty="0"/>
              <a:t> </a:t>
            </a:r>
            <a:r>
              <a:rPr lang="de-DE" sz="1200" dirty="0" err="1"/>
              <a:t>fibers</a:t>
            </a:r>
            <a:r>
              <a:rPr lang="de-DE" sz="1200" dirty="0"/>
              <a:t> </a:t>
            </a:r>
            <a:r>
              <a:rPr lang="de-DE" sz="1200" dirty="0" err="1"/>
              <a:t>you</a:t>
            </a:r>
            <a:r>
              <a:rPr lang="de-DE" sz="1200" dirty="0"/>
              <a:t> </a:t>
            </a:r>
            <a:r>
              <a:rPr lang="de-DE" sz="1200" dirty="0" err="1"/>
              <a:t>can</a:t>
            </a:r>
            <a:r>
              <a:rPr lang="de-DE" sz="1200" dirty="0"/>
              <a:t> </a:t>
            </a:r>
            <a:r>
              <a:rPr lang="de-DE" sz="1200" dirty="0" err="1"/>
              <a:t>choose</a:t>
            </a:r>
            <a:r>
              <a:rPr lang="de-DE" sz="1200" dirty="0"/>
              <a:t> </a:t>
            </a:r>
            <a:r>
              <a:rPr lang="de-DE" sz="1200" dirty="0" err="1"/>
              <a:t>among</a:t>
            </a:r>
            <a:r>
              <a:rPr lang="de-DE" sz="1200" dirty="0"/>
              <a:t> 3 </a:t>
            </a:r>
            <a:r>
              <a:rPr lang="de-DE" sz="1200" dirty="0" err="1"/>
              <a:t>master</a:t>
            </a:r>
            <a:r>
              <a:rPr lang="de-DE" sz="1200" dirty="0"/>
              <a:t> </a:t>
            </a:r>
            <a:r>
              <a:rPr lang="de-DE" sz="1200" dirty="0" err="1"/>
              <a:t>styles</a:t>
            </a:r>
            <a:r>
              <a:rPr lang="de-DE" sz="1200" dirty="0"/>
              <a:t> – </a:t>
            </a:r>
            <a:br>
              <a:rPr lang="de-DE" sz="1200" dirty="0"/>
            </a:br>
            <a:r>
              <a:rPr lang="de-DE" sz="1200" dirty="0" err="1"/>
              <a:t>one</a:t>
            </a:r>
            <a:r>
              <a:rPr lang="de-DE" sz="1200" dirty="0"/>
              <a:t> </a:t>
            </a:r>
            <a:r>
              <a:rPr lang="de-DE" sz="1200" dirty="0" err="1"/>
              <a:t>including</a:t>
            </a:r>
            <a:r>
              <a:rPr lang="de-DE" sz="1200" dirty="0"/>
              <a:t> </a:t>
            </a:r>
            <a:r>
              <a:rPr lang="de-DE" sz="1200" dirty="0" err="1"/>
              <a:t>both</a:t>
            </a:r>
            <a:r>
              <a:rPr lang="de-DE" sz="1200" dirty="0"/>
              <a:t> </a:t>
            </a:r>
            <a:r>
              <a:rPr lang="de-DE" sz="1200" dirty="0" err="1"/>
              <a:t>brands</a:t>
            </a:r>
            <a:r>
              <a:rPr lang="de-DE" sz="1200" dirty="0"/>
              <a:t> </a:t>
            </a:r>
            <a:r>
              <a:rPr lang="de-DE" sz="1200" dirty="0" err="1"/>
              <a:t>and</a:t>
            </a:r>
            <a:r>
              <a:rPr lang="de-DE" sz="1200" dirty="0"/>
              <a:t> </a:t>
            </a:r>
            <a:r>
              <a:rPr lang="de-DE" sz="1200" dirty="0" err="1"/>
              <a:t>two</a:t>
            </a:r>
            <a:r>
              <a:rPr lang="de-DE" sz="1200" dirty="0"/>
              <a:t> </a:t>
            </a:r>
            <a:r>
              <a:rPr lang="de-DE" sz="1200" dirty="0" err="1"/>
              <a:t>with</a:t>
            </a:r>
            <a:r>
              <a:rPr lang="de-DE" sz="1200" dirty="0"/>
              <a:t> </a:t>
            </a:r>
            <a:r>
              <a:rPr lang="de-DE" sz="1200" dirty="0" err="1"/>
              <a:t>one</a:t>
            </a:r>
            <a:r>
              <a:rPr lang="de-DE" sz="1200" dirty="0"/>
              <a:t> </a:t>
            </a:r>
            <a:r>
              <a:rPr lang="de-DE" sz="1200" dirty="0" err="1"/>
              <a:t>brand</a:t>
            </a:r>
            <a:r>
              <a:rPr lang="de-DE" sz="1200" dirty="0"/>
              <a:t> </a:t>
            </a:r>
            <a:r>
              <a:rPr lang="de-DE" sz="1200" dirty="0" err="1"/>
              <a:t>only</a:t>
            </a:r>
            <a:r>
              <a:rPr lang="de-DE" sz="1200" dirty="0"/>
              <a:t>.</a:t>
            </a:r>
          </a:p>
          <a:p>
            <a:endParaRPr lang="de-DE" sz="1200" dirty="0"/>
          </a:p>
          <a:p>
            <a:r>
              <a:rPr lang="de-DE" sz="1200" dirty="0"/>
              <a:t>Just </a:t>
            </a:r>
            <a:r>
              <a:rPr lang="de-DE" sz="1200" dirty="0" err="1"/>
              <a:t>select</a:t>
            </a:r>
            <a:r>
              <a:rPr lang="de-DE" sz="1200" dirty="0"/>
              <a:t> </a:t>
            </a:r>
            <a:r>
              <a:rPr lang="de-DE" sz="1200" dirty="0" err="1"/>
              <a:t>the</a:t>
            </a:r>
            <a:r>
              <a:rPr lang="de-DE" sz="1200" dirty="0"/>
              <a:t> </a:t>
            </a:r>
            <a:r>
              <a:rPr lang="de-DE" sz="1200" dirty="0" err="1"/>
              <a:t>slide</a:t>
            </a:r>
            <a:r>
              <a:rPr lang="de-DE" sz="1200" dirty="0"/>
              <a:t>/s </a:t>
            </a:r>
            <a:r>
              <a:rPr lang="de-DE" sz="1200" dirty="0" err="1"/>
              <a:t>you</a:t>
            </a:r>
            <a:r>
              <a:rPr lang="de-DE" sz="1200" dirty="0"/>
              <a:t> </a:t>
            </a:r>
            <a:r>
              <a:rPr lang="de-DE" sz="1200" dirty="0" err="1"/>
              <a:t>want</a:t>
            </a:r>
            <a:r>
              <a:rPr lang="de-DE" sz="1200" dirty="0"/>
              <a:t> </a:t>
            </a:r>
            <a:r>
              <a:rPr lang="de-DE" sz="1200" dirty="0" err="1"/>
              <a:t>to</a:t>
            </a:r>
            <a:r>
              <a:rPr lang="de-DE" sz="1200" dirty="0"/>
              <a:t> </a:t>
            </a:r>
            <a:r>
              <a:rPr lang="de-DE" sz="1200" dirty="0" err="1"/>
              <a:t>change</a:t>
            </a:r>
            <a:r>
              <a:rPr lang="de-DE" sz="1200" dirty="0"/>
              <a:t>, </a:t>
            </a:r>
            <a:r>
              <a:rPr lang="de-DE" sz="1200" dirty="0" err="1"/>
              <a:t>go</a:t>
            </a:r>
            <a:r>
              <a:rPr lang="de-DE" sz="1200" dirty="0"/>
              <a:t> </a:t>
            </a:r>
            <a:r>
              <a:rPr lang="de-DE" sz="1200" dirty="0" err="1"/>
              <a:t>to</a:t>
            </a:r>
            <a:r>
              <a:rPr lang="de-DE" sz="1200" dirty="0"/>
              <a:t> Design </a:t>
            </a:r>
            <a:r>
              <a:rPr lang="de-DE" sz="1200" dirty="0" err="1"/>
              <a:t>and</a:t>
            </a:r>
            <a:r>
              <a:rPr lang="de-DE" sz="1200" dirty="0"/>
              <a:t> </a:t>
            </a:r>
            <a:r>
              <a:rPr lang="de-DE" sz="1200" dirty="0" err="1"/>
              <a:t>choose</a:t>
            </a:r>
            <a:r>
              <a:rPr lang="de-DE" sz="1200" dirty="0"/>
              <a:t> </a:t>
            </a:r>
            <a:r>
              <a:rPr lang="de-DE" sz="1200" dirty="0" err="1"/>
              <a:t>the</a:t>
            </a:r>
            <a:r>
              <a:rPr lang="de-DE" sz="1200" dirty="0"/>
              <a:t> </a:t>
            </a:r>
            <a:r>
              <a:rPr lang="en-US" sz="1200" dirty="0"/>
              <a:t>“theme” you want to use. </a:t>
            </a:r>
            <a:br>
              <a:rPr lang="en-US" sz="1200" dirty="0"/>
            </a:br>
            <a:r>
              <a:rPr lang="en-US" sz="1200" dirty="0"/>
              <a:t>Please only use the first 3 themes with the different competence brand logos.</a:t>
            </a:r>
          </a:p>
          <a:p>
            <a:endParaRPr lang="en-US" sz="1200" dirty="0"/>
          </a:p>
        </p:txBody>
      </p:sp>
      <p:pic>
        <p:nvPicPr>
          <p:cNvPr id="1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8775" y="2859088"/>
            <a:ext cx="2773065" cy="1127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699452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a:t>
            </a:r>
            <a:br>
              <a:rPr lang="en-US" noProof="0" dirty="0"/>
            </a:br>
            <a:r>
              <a:rPr lang="en-US" noProof="0" dirty="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55354601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subtitle of the presentation</a:t>
            </a:r>
          </a:p>
        </p:txBody>
      </p:sp>
    </p:spTree>
    <p:extLst>
      <p:ext uri="{BB962C8B-B14F-4D97-AF65-F5344CB8AC3E}">
        <p14:creationId xmlns:p14="http://schemas.microsoft.com/office/powerpoint/2010/main" val="17662349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File Name</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Nr.›</a:t>
            </a:fld>
            <a:endParaRPr lang="en-US" noProof="0" dirty="0"/>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5458688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4"/>
          </p:nvPr>
        </p:nvSpPr>
        <p:spPr/>
        <p:txBody>
          <a:bodyPr/>
          <a:lstStyle/>
          <a:p>
            <a:endParaRPr lang="en-US" dirty="0"/>
          </a:p>
        </p:txBody>
      </p:sp>
      <p:sp>
        <p:nvSpPr>
          <p:cNvPr id="5" name="Footer Placeholder 4"/>
          <p:cNvSpPr>
            <a:spLocks noGrp="1"/>
          </p:cNvSpPr>
          <p:nvPr>
            <p:ph type="ftr" sz="quarter" idx="15"/>
          </p:nvPr>
        </p:nvSpPr>
        <p:spPr/>
        <p:txBody>
          <a:bodyPr/>
          <a:lstStyle/>
          <a:p>
            <a:r>
              <a:rPr lang="en-US"/>
              <a:t>File Name</a:t>
            </a:r>
            <a:endParaRPr lang="en-US" dirty="0"/>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en-US" dirty="0"/>
              <a:t>Click to edit Master title style</a:t>
            </a:r>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03309828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3"/>
          </p:nvPr>
        </p:nvSpPr>
        <p:spPr/>
        <p:txBody>
          <a:bodyPr/>
          <a:lstStyle/>
          <a:p>
            <a:endParaRPr lang="en-US" dirty="0"/>
          </a:p>
        </p:txBody>
      </p:sp>
      <p:sp>
        <p:nvSpPr>
          <p:cNvPr id="5" name="Footer Placeholder 4"/>
          <p:cNvSpPr>
            <a:spLocks noGrp="1"/>
          </p:cNvSpPr>
          <p:nvPr>
            <p:ph type="ftr" sz="quarter" idx="14"/>
          </p:nvPr>
        </p:nvSpPr>
        <p:spPr/>
        <p:txBody>
          <a:bodyPr/>
          <a:lstStyle/>
          <a:p>
            <a:r>
              <a:rPr lang="en-US"/>
              <a:t>File Name</a:t>
            </a:r>
            <a:endParaRPr lang="en-US" dirty="0"/>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Nr.›</a:t>
            </a:fld>
            <a:endParaRPr lang="en-US" dirty="0"/>
          </a:p>
        </p:txBody>
      </p:sp>
      <p:sp>
        <p:nvSpPr>
          <p:cNvPr id="13" name="Title 12"/>
          <p:cNvSpPr>
            <a:spLocks noGrp="1"/>
          </p:cNvSpPr>
          <p:nvPr>
            <p:ph type="title"/>
          </p:nvPr>
        </p:nvSpPr>
        <p:spPr/>
        <p:txBody>
          <a:bodyPr/>
          <a:lstStyle/>
          <a:p>
            <a:r>
              <a:rPr lang="en-US"/>
              <a:t>Click to edit Master title style</a:t>
            </a:r>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74478651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3" name="Title 2"/>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7"/>
          </p:nvPr>
        </p:nvSpPr>
        <p:spPr/>
        <p:txBody>
          <a:bodyPr/>
          <a:lstStyle/>
          <a:p>
            <a:endParaRPr lang="en-US" dirty="0"/>
          </a:p>
        </p:txBody>
      </p:sp>
      <p:sp>
        <p:nvSpPr>
          <p:cNvPr id="11" name="Footer Placeholder 10"/>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Nr.›</a:t>
            </a:fld>
            <a:endParaRPr lang="en-US" dirty="0"/>
          </a:p>
        </p:txBody>
      </p:sp>
    </p:spTree>
    <p:extLst>
      <p:ext uri="{BB962C8B-B14F-4D97-AF65-F5344CB8AC3E}">
        <p14:creationId xmlns:p14="http://schemas.microsoft.com/office/powerpoint/2010/main" val="17961679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r>
              <a:rPr lang="en-US"/>
              <a:t>File Name</a:t>
            </a:r>
            <a:endParaRPr lang="en-US" dirty="0"/>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de-DE"/>
              <a:t>Mastertitelformat bearbeiten</a:t>
            </a:r>
            <a:endParaRPr lang="en-US"/>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12370846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7"/>
          </p:nvPr>
        </p:nvSpPr>
        <p:spPr/>
        <p:txBody>
          <a:bodyPr/>
          <a:lstStyle/>
          <a:p>
            <a:endParaRPr lang="en-US" dirty="0"/>
          </a:p>
        </p:txBody>
      </p:sp>
      <p:sp>
        <p:nvSpPr>
          <p:cNvPr id="5" name="Footer Placeholder 4"/>
          <p:cNvSpPr>
            <a:spLocks noGrp="1"/>
          </p:cNvSpPr>
          <p:nvPr>
            <p:ph type="ftr" sz="quarter" idx="18"/>
          </p:nvPr>
        </p:nvSpPr>
        <p:spPr/>
        <p:txBody>
          <a:bodyPr/>
          <a:lstStyle/>
          <a:p>
            <a:r>
              <a:rPr lang="en-US"/>
              <a:t>File Name</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Nr.›</a:t>
            </a:fld>
            <a:endParaRPr lang="en-US" dirty="0"/>
          </a:p>
        </p:txBody>
      </p:sp>
      <p:sp>
        <p:nvSpPr>
          <p:cNvPr id="13" name="Title 1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696142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r>
              <a:rPr lang="en-US"/>
              <a:t>File Name</a:t>
            </a:r>
            <a:endParaRPr lang="en-US" dirty="0"/>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43353739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en-US"/>
              <a:t>Click to edit Master title style</a:t>
            </a:r>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98710203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9672006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File Name</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94815935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dirty="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Tree>
    <p:extLst>
      <p:ext uri="{BB962C8B-B14F-4D97-AF65-F5344CB8AC3E}">
        <p14:creationId xmlns:p14="http://schemas.microsoft.com/office/powerpoint/2010/main" val="112329595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endParaRPr lang="en-US" dirty="0"/>
          </a:p>
        </p:txBody>
      </p:sp>
      <p:sp>
        <p:nvSpPr>
          <p:cNvPr id="10" name="Footer Placeholder 9"/>
          <p:cNvSpPr>
            <a:spLocks noGrp="1"/>
          </p:cNvSpPr>
          <p:nvPr>
            <p:ph type="ftr" sz="quarter" idx="16"/>
          </p:nvPr>
        </p:nvSpPr>
        <p:spPr/>
        <p:txBody>
          <a:bodyPr/>
          <a:lstStyle/>
          <a:p>
            <a:r>
              <a:rPr lang="en-US"/>
              <a:t>File Name</a:t>
            </a:r>
            <a:endParaRPr lang="en-US" dirty="0"/>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5835562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88959933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78434856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17502375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11" name="Title 10"/>
          <p:cNvSpPr>
            <a:spLocks noGrp="1"/>
          </p:cNvSpPr>
          <p:nvPr>
            <p:ph type="title"/>
          </p:nvPr>
        </p:nvSpPr>
        <p:spPr/>
        <p:txBody>
          <a:bodyPr/>
          <a:lstStyle/>
          <a:p>
            <a:r>
              <a:rPr lang="de-DE"/>
              <a:t>Mastertitelformat bearbeiten</a:t>
            </a:r>
            <a:endParaRPr lang="en-US"/>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89324021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File Name</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Nr.›</a:t>
            </a:fld>
            <a:endParaRPr lang="en-US" dirty="0"/>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289522915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3" name="Title 2"/>
          <p:cNvSpPr>
            <a:spLocks noGrp="1"/>
          </p:cNvSpPr>
          <p:nvPr>
            <p:ph type="title"/>
          </p:nvPr>
        </p:nvSpPr>
        <p:spPr/>
        <p:txBody>
          <a:bodyPr/>
          <a:lstStyle/>
          <a:p>
            <a:r>
              <a:rPr lang="en-US"/>
              <a:t>Click to edit Master title style</a:t>
            </a:r>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File Name</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Nr.›</a:t>
            </a:fld>
            <a:endParaRPr lang="en-US" dirty="0"/>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dirty="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dirty="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dirty="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en-US" noProof="0" dirty="0"/>
              <a:t>Click icon to </a:t>
            </a:r>
          </a:p>
          <a:p>
            <a:r>
              <a:rPr lang="en-US" noProof="0" dirty="0"/>
              <a:t>insert a picture</a:t>
            </a:r>
          </a:p>
        </p:txBody>
      </p:sp>
    </p:spTree>
    <p:extLst>
      <p:ext uri="{BB962C8B-B14F-4D97-AF65-F5344CB8AC3E}">
        <p14:creationId xmlns:p14="http://schemas.microsoft.com/office/powerpoint/2010/main" val="103589899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File Name</a:t>
            </a:r>
            <a:endParaRPr lang="en-US" dirty="0"/>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Nr.›</a:t>
            </a:fld>
            <a:endParaRPr lang="en-US" dirty="0"/>
          </a:p>
        </p:txBody>
      </p:sp>
      <p:sp>
        <p:nvSpPr>
          <p:cNvPr id="9" name="Title 8"/>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7246901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 with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6" name="Textfeld 5">
            <a:extLst>
              <a:ext uri="{FF2B5EF4-FFF2-40B4-BE49-F238E27FC236}">
                <a16:creationId xmlns:a16="http://schemas.microsoft.com/office/drawing/2014/main" id="{AE42BF1B-F344-4E1F-86A4-5DD36FAA68ED}"/>
              </a:ext>
            </a:extLst>
          </p:cNvPr>
          <p:cNvSpPr txBox="1"/>
          <p:nvPr userDrawn="1"/>
        </p:nvSpPr>
        <p:spPr>
          <a:xfrm>
            <a:off x="358775" y="889831"/>
            <a:ext cx="8426450" cy="1008109"/>
          </a:xfrm>
          <a:prstGeom prst="rect">
            <a:avLst/>
          </a:prstGeom>
          <a:noFill/>
        </p:spPr>
        <p:txBody>
          <a:bodyPr wrap="square" lIns="0" tIns="0" rIns="0" bIns="0" rtlCol="0">
            <a:noAutofit/>
          </a:bodyPr>
          <a:lstStyle/>
          <a:p>
            <a:pPr marL="0" indent="0" algn="ctr">
              <a:spcBef>
                <a:spcPts val="300"/>
              </a:spcBef>
              <a:spcAft>
                <a:spcPts val="300"/>
              </a:spcAft>
              <a:buClr>
                <a:schemeClr val="bg2"/>
              </a:buClr>
              <a:buFont typeface="Wingdings" pitchFamily="2" charset="2"/>
              <a:buNone/>
            </a:pPr>
            <a:r>
              <a:rPr lang="de-DE" sz="4000" b="1" noProof="1">
                <a:solidFill>
                  <a:schemeClr val="bg2"/>
                </a:solidFill>
              </a:rPr>
              <a:t>Thank you.</a:t>
            </a:r>
          </a:p>
        </p:txBody>
      </p:sp>
    </p:spTree>
    <p:extLst>
      <p:ext uri="{BB962C8B-B14F-4D97-AF65-F5344CB8AC3E}">
        <p14:creationId xmlns:p14="http://schemas.microsoft.com/office/powerpoint/2010/main" val="282897579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 Contac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CDEA2027-55E0-42C6-ABC4-798A166E632C}"/>
              </a:ext>
            </a:extLst>
          </p:cNvPr>
          <p:cNvSpPr>
            <a:spLocks noGrp="1"/>
          </p:cNvSpPr>
          <p:nvPr>
            <p:ph type="pic" sz="quarter" idx="11"/>
          </p:nvPr>
        </p:nvSpPr>
        <p:spPr bwMode="gray">
          <a:xfrm>
            <a:off x="358598" y="1059582"/>
            <a:ext cx="1060493" cy="1515096"/>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Box 3">
            <a:extLst>
              <a:ext uri="{FF2B5EF4-FFF2-40B4-BE49-F238E27FC236}">
                <a16:creationId xmlns:a16="http://schemas.microsoft.com/office/drawing/2014/main" id="{DCFC9203-754B-4F3D-9C41-DE08F57D01AB}"/>
              </a:ext>
            </a:extLst>
          </p:cNvPr>
          <p:cNvSpPr txBox="1"/>
          <p:nvPr userDrawn="1"/>
        </p:nvSpPr>
        <p:spPr bwMode="gray">
          <a:xfrm>
            <a:off x="358598" y="411164"/>
            <a:ext cx="4105275" cy="468312"/>
          </a:xfrm>
          <a:prstGeom prst="rect">
            <a:avLst/>
          </a:prstGeom>
          <a:noFill/>
        </p:spPr>
        <p:txBody>
          <a:bodyPr wrap="square" lIns="0" tIns="144000" rIns="0" bIns="0" rtlCol="0">
            <a:noAutofit/>
          </a:bodyPr>
          <a:lstStyle/>
          <a:p>
            <a:pPr>
              <a:lnSpc>
                <a:spcPct val="90000"/>
              </a:lnSpc>
            </a:pPr>
            <a:r>
              <a:rPr lang="en-US" sz="2800" b="1" noProof="0" dirty="0">
                <a:solidFill>
                  <a:schemeClr val="bg2"/>
                </a:solidFill>
                <a:latin typeface="+mn-lt"/>
              </a:rPr>
              <a:t>Thank you.</a:t>
            </a:r>
          </a:p>
        </p:txBody>
      </p:sp>
      <p:sp>
        <p:nvSpPr>
          <p:cNvPr id="12" name="Textplatzhalter 9">
            <a:extLst>
              <a:ext uri="{FF2B5EF4-FFF2-40B4-BE49-F238E27FC236}">
                <a16:creationId xmlns:a16="http://schemas.microsoft.com/office/drawing/2014/main" id="{49B59AFC-FB01-412B-B058-68ACE717C8BA}"/>
              </a:ext>
            </a:extLst>
          </p:cNvPr>
          <p:cNvSpPr>
            <a:spLocks noGrp="1"/>
          </p:cNvSpPr>
          <p:nvPr>
            <p:ph type="body" sz="quarter" idx="12" hasCustomPrompt="1"/>
          </p:nvPr>
        </p:nvSpPr>
        <p:spPr bwMode="gray">
          <a:xfrm>
            <a:off x="1634991" y="1059582"/>
            <a:ext cx="7150233" cy="165663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vl6pPr>
              <a:lnSpc>
                <a:spcPct val="90000"/>
              </a:lnSpc>
              <a:defRPr/>
            </a:lvl6pPr>
            <a:lvl7pPr>
              <a:lnSpc>
                <a:spcPct val="90000"/>
              </a:lnSpc>
              <a:defRPr/>
            </a:lvl7pPr>
            <a:lvl8pPr>
              <a:lnSpc>
                <a:spcPct val="90000"/>
              </a:lnSpc>
              <a:defRPr/>
            </a:lvl8pPr>
            <a:lvl9pPr>
              <a:lnSpc>
                <a:spcPct val="90000"/>
              </a:lnSpc>
              <a:defRPr/>
            </a:lvl9p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18126602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Explanations 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a:t>
            </a:r>
            <a:br>
              <a:rPr lang="en-US" sz="1200" baseline="0" noProof="1">
                <a:solidFill>
                  <a:schemeClr val="tx1"/>
                </a:solidFill>
              </a:rPr>
            </a:br>
            <a:r>
              <a:rPr lang="en-US" sz="1200" baseline="0" noProof="1">
                <a:solidFill>
                  <a:schemeClr val="tx1"/>
                </a:solidFill>
              </a:rPr>
              <a:t>the slide </a:t>
            </a:r>
            <a:r>
              <a:rPr lang="en-US" sz="1200" noProof="1">
                <a:solidFill>
                  <a:schemeClr val="tx1"/>
                </a:solidFill>
              </a:rPr>
              <a:t>(</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aseline="0" noProof="1">
                <a:solidFill>
                  <a:schemeClr val="tx1"/>
                </a:solidFill>
              </a:rPr>
              <a:t> |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0" baseline="0" noProof="1">
              <a:solidFill>
                <a:schemeClr val="tx1"/>
              </a:solidFill>
            </a:endParaRPr>
          </a:p>
          <a:p>
            <a:pPr algn="l">
              <a:lnSpc>
                <a:spcPct val="90000"/>
              </a:lnSpc>
            </a:pPr>
            <a:r>
              <a:rPr lang="en-US" sz="1200" b="0" baseline="0" noProof="1">
                <a:solidFill>
                  <a:schemeClr val="tx1"/>
                </a:solidFill>
              </a:rPr>
              <a:t>Or hit the right mouse button outside the slide and go at </a:t>
            </a:r>
            <a:r>
              <a:rPr lang="en-US" sz="1200" b="1" i="1" baseline="0" noProof="1">
                <a:solidFill>
                  <a:schemeClr val="tx1"/>
                </a:solidFill>
              </a:rPr>
              <a:t>„Grid and Guides…“</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dirty="0"/>
          </a:p>
        </p:txBody>
      </p:sp>
      <p:sp>
        <p:nvSpPr>
          <p:cNvPr id="8" name="TextBox 7"/>
          <p:cNvSpPr txBox="1"/>
          <p:nvPr userDrawn="1"/>
        </p:nvSpPr>
        <p:spPr bwMode="gray">
          <a:xfrm>
            <a:off x="3240089"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slide-layouts. </a:t>
            </a:r>
            <a:br>
              <a:rPr lang="en-US" sz="1200" baseline="0" noProof="1">
                <a:solidFill>
                  <a:schemeClr val="tx1"/>
                </a:solidFill>
              </a:rPr>
            </a:br>
            <a:r>
              <a:rPr lang="en-US" sz="1200" baseline="0" noProof="1">
                <a:solidFill>
                  <a:schemeClr val="tx1"/>
                </a:solidFill>
              </a:rPr>
              <a:t>These pre-defined layouts give you </a:t>
            </a:r>
            <a:br>
              <a:rPr lang="en-US" sz="1200" baseline="0" noProof="1">
                <a:solidFill>
                  <a:schemeClr val="tx1"/>
                </a:solidFill>
              </a:rPr>
            </a:br>
            <a:r>
              <a:rPr lang="en-US" sz="1200" baseline="0" noProof="1">
                <a:solidFill>
                  <a:schemeClr val="tx1"/>
                </a:solidFill>
              </a:rPr>
              <a:t>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baseline="0" noProof="1">
                <a:solidFill>
                  <a:schemeClr val="tx1"/>
                </a:solidFill>
              </a:rPr>
              <a:t>New Slide </a:t>
            </a:r>
            <a:br>
              <a:rPr lang="en-US" sz="1200" b="1" baseline="0" noProof="1">
                <a:solidFill>
                  <a:schemeClr val="tx1"/>
                </a:solidFill>
              </a:rPr>
            </a:br>
            <a:r>
              <a:rPr lang="en-US" sz="1200" b="1" baseline="0" noProof="1">
                <a:solidFill>
                  <a:schemeClr val="tx1"/>
                </a:solidFill>
              </a:rPr>
              <a:t>or Layout </a:t>
            </a:r>
            <a:r>
              <a:rPr lang="en-US" sz="1200" baseline="0" noProof="1">
                <a:solidFill>
                  <a:schemeClr val="tx1"/>
                </a:solidFill>
              </a:rPr>
              <a:t>| and choose one out of the layouts</a:t>
            </a:r>
            <a:endParaRPr lang="en-US" sz="1200" noProof="1">
              <a:solidFill>
                <a:schemeClr val="tx1"/>
              </a:solidFill>
            </a:endParaRP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Header and Footer | </a:t>
            </a:r>
            <a:endParaRPr lang="en-US" sz="1200" noProof="1">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872863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xplanations II/III">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F9BD4167-D94C-4755-89CF-CAC8F140243B}"/>
              </a:ext>
            </a:extLst>
          </p:cNvPr>
          <p:cNvPicPr>
            <a:picLocks noChangeAspect="1"/>
          </p:cNvPicPr>
          <p:nvPr userDrawn="1"/>
        </p:nvPicPr>
        <p:blipFill>
          <a:blip r:embed="rId2"/>
          <a:stretch>
            <a:fillRect/>
          </a:stretch>
        </p:blipFill>
        <p:spPr>
          <a:xfrm>
            <a:off x="356395" y="879476"/>
            <a:ext cx="4106863" cy="2901855"/>
          </a:xfrm>
          <a:prstGeom prst="rect">
            <a:avLst/>
          </a:prstGeom>
        </p:spPr>
      </p:pic>
      <p:pic>
        <p:nvPicPr>
          <p:cNvPr id="6" name="Grafik 5">
            <a:extLst>
              <a:ext uri="{FF2B5EF4-FFF2-40B4-BE49-F238E27FC236}">
                <a16:creationId xmlns:a16="http://schemas.microsoft.com/office/drawing/2014/main" id="{24965E17-BBAF-4AD2-A8B2-984B89D229C4}"/>
              </a:ext>
            </a:extLst>
          </p:cNvPr>
          <p:cNvPicPr>
            <a:picLocks noChangeAspect="1"/>
          </p:cNvPicPr>
          <p:nvPr userDrawn="1"/>
        </p:nvPicPr>
        <p:blipFill>
          <a:blip r:embed="rId3"/>
          <a:stretch>
            <a:fillRect/>
          </a:stretch>
        </p:blipFill>
        <p:spPr>
          <a:xfrm>
            <a:off x="4782654" y="2079928"/>
            <a:ext cx="3256654" cy="1831868"/>
          </a:xfrm>
          <a:prstGeom prst="rect">
            <a:avLst/>
          </a:prstGeom>
          <a:noFill/>
          <a:ln w="9525" algn="ctr">
            <a:solidFill>
              <a:schemeClr val="folHlink"/>
            </a:solidFill>
            <a:miter lim="800000"/>
            <a:headEnd/>
            <a:tailEnd/>
          </a:ln>
          <a:effectLst/>
        </p:spPr>
      </p:pic>
      <p:pic>
        <p:nvPicPr>
          <p:cNvPr id="5124" name="Picture 4"/>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036373" y="234263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282472" y="2600863"/>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4679949" y="879475"/>
            <a:ext cx="4105275" cy="1836737"/>
          </a:xfrm>
          <a:prstGeom prst="rect">
            <a:avLst/>
          </a:prstGeom>
          <a:noFill/>
        </p:spPr>
        <p:txBody>
          <a:bodyPr wrap="square" lIns="0" tIns="0" rIns="0" bIns="0" rtlCol="0">
            <a:noAutofit/>
          </a:bodyPr>
          <a:lstStyle/>
          <a:p>
            <a:r>
              <a:rPr lang="en-US" sz="1100" noProof="0" dirty="0"/>
              <a:t>If you wish to show only one segment, meaning either “</a:t>
            </a:r>
            <a:r>
              <a:rPr lang="en-US" sz="1100" noProof="0" dirty="0" err="1"/>
              <a:t>oerlikon</a:t>
            </a:r>
            <a:r>
              <a:rPr lang="en-US" sz="1100" noProof="0" dirty="0"/>
              <a:t> </a:t>
            </a:r>
            <a:r>
              <a:rPr lang="en-US" sz="1100" noProof="0" dirty="0" err="1"/>
              <a:t>barmag</a:t>
            </a:r>
            <a:r>
              <a:rPr lang="en-US" sz="1100" noProof="0" dirty="0"/>
              <a:t>”, “</a:t>
            </a:r>
            <a:r>
              <a:rPr lang="en-US" sz="1100" noProof="0" dirty="0" err="1"/>
              <a:t>oerlikon</a:t>
            </a:r>
            <a:r>
              <a:rPr lang="en-US" sz="1100" noProof="0" dirty="0"/>
              <a:t> </a:t>
            </a:r>
            <a:r>
              <a:rPr lang="en-US" sz="1100" noProof="0" dirty="0" err="1"/>
              <a:t>neumag</a:t>
            </a:r>
            <a:r>
              <a:rPr lang="en-US" sz="1100" noProof="0" dirty="0"/>
              <a:t>” or “</a:t>
            </a:r>
            <a:r>
              <a:rPr lang="en-US" sz="1100" noProof="0" dirty="0" err="1"/>
              <a:t>oerlikon</a:t>
            </a:r>
            <a:r>
              <a:rPr lang="en-US" sz="1100" noProof="0" dirty="0"/>
              <a:t> nonwoven”, you can simply do that. We have designed different slide masters for you.</a:t>
            </a:r>
          </a:p>
          <a:p>
            <a:endParaRPr lang="en-US" sz="1100" noProof="0" dirty="0"/>
          </a:p>
          <a:p>
            <a:r>
              <a:rPr lang="en-US" sz="1100" noProof="0" dirty="0"/>
              <a:t>Depending on the segment, just switch via “Home” &gt; “Layout” and choose your master.</a:t>
            </a:r>
          </a:p>
          <a:p>
            <a:endParaRPr lang="en-US" sz="1200" noProof="0" dirty="0"/>
          </a:p>
        </p:txBody>
      </p:sp>
      <p:pic>
        <p:nvPicPr>
          <p:cNvPr id="5122"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528570" y="2859088"/>
            <a:ext cx="3249034" cy="1827383"/>
          </a:xfrm>
          <a:prstGeom prst="rect">
            <a:avLst/>
          </a:prstGeom>
          <a:noFill/>
          <a:ln w="9525" algn="ctr">
            <a:solidFill>
              <a:schemeClr val="fo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868459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Explanations III/III">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a:t>File Name</a:t>
            </a:r>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Nr.›</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dirty="0"/>
              <a:t>Explanation slide</a:t>
            </a:r>
            <a:br>
              <a:rPr lang="en-US" sz="1800" b="1" dirty="0"/>
            </a:br>
            <a:r>
              <a:rPr lang="en-US" sz="1800" b="1" dirty="0"/>
              <a:t>- Please read the following explanations</a:t>
            </a:r>
          </a:p>
        </p:txBody>
      </p:sp>
      <p:sp>
        <p:nvSpPr>
          <p:cNvPr id="2" name="TextBox 1"/>
          <p:cNvSpPr txBox="1"/>
          <p:nvPr userDrawn="1"/>
        </p:nvSpPr>
        <p:spPr bwMode="gray">
          <a:xfrm>
            <a:off x="358775" y="879475"/>
            <a:ext cx="8426449" cy="1836737"/>
          </a:xfrm>
          <a:prstGeom prst="rect">
            <a:avLst/>
          </a:prstGeom>
          <a:noFill/>
        </p:spPr>
        <p:txBody>
          <a:bodyPr wrap="square" lIns="0" tIns="0" rIns="0" bIns="0" rtlCol="0">
            <a:noAutofit/>
          </a:bodyPr>
          <a:lstStyle/>
          <a:p>
            <a:r>
              <a:rPr lang="en-US" sz="1200" dirty="0"/>
              <a:t>You may also switch entire sections to another competence brand. </a:t>
            </a:r>
            <a:br>
              <a:rPr lang="en-US" sz="1200" dirty="0"/>
            </a:br>
            <a:r>
              <a:rPr lang="en-US" sz="1200" dirty="0"/>
              <a:t>If you haven’t done so far, please first copy all your slides into the respective brand template.</a:t>
            </a:r>
          </a:p>
          <a:p>
            <a:endParaRPr lang="en-US" sz="1200" dirty="0"/>
          </a:p>
          <a:p>
            <a:r>
              <a:rPr lang="en-US" sz="1200" dirty="0"/>
              <a:t>You may apply an competence brand either to several slides at once or to one slide at a time, depending on which competence brand you want to show. </a:t>
            </a:r>
            <a:r>
              <a:rPr lang="de-DE" sz="1200" dirty="0"/>
              <a:t>E.g. in </a:t>
            </a:r>
            <a:r>
              <a:rPr lang="de-DE" sz="1200" dirty="0" err="1"/>
              <a:t>the</a:t>
            </a:r>
            <a:r>
              <a:rPr lang="de-DE" sz="1200" dirty="0"/>
              <a:t> </a:t>
            </a:r>
            <a:r>
              <a:rPr lang="de-DE" sz="1200" dirty="0" err="1"/>
              <a:t>template</a:t>
            </a:r>
            <a:r>
              <a:rPr lang="de-DE" sz="1200" dirty="0"/>
              <a:t> </a:t>
            </a:r>
            <a:r>
              <a:rPr lang="de-DE" sz="1200" dirty="0" err="1"/>
              <a:t>for</a:t>
            </a:r>
            <a:r>
              <a:rPr lang="de-DE" sz="1200" dirty="0"/>
              <a:t> </a:t>
            </a:r>
            <a:r>
              <a:rPr lang="de-DE" sz="1200" dirty="0" err="1"/>
              <a:t>manmade</a:t>
            </a:r>
            <a:r>
              <a:rPr lang="de-DE" sz="1200" dirty="0"/>
              <a:t> </a:t>
            </a:r>
            <a:r>
              <a:rPr lang="de-DE" sz="1200" dirty="0" err="1"/>
              <a:t>fibers</a:t>
            </a:r>
            <a:r>
              <a:rPr lang="de-DE" sz="1200" dirty="0"/>
              <a:t> </a:t>
            </a:r>
            <a:r>
              <a:rPr lang="de-DE" sz="1200" dirty="0" err="1"/>
              <a:t>you</a:t>
            </a:r>
            <a:r>
              <a:rPr lang="de-DE" sz="1200" dirty="0"/>
              <a:t> </a:t>
            </a:r>
            <a:r>
              <a:rPr lang="de-DE" sz="1200" dirty="0" err="1"/>
              <a:t>can</a:t>
            </a:r>
            <a:r>
              <a:rPr lang="de-DE" sz="1200" dirty="0"/>
              <a:t> </a:t>
            </a:r>
            <a:r>
              <a:rPr lang="de-DE" sz="1200" dirty="0" err="1"/>
              <a:t>choose</a:t>
            </a:r>
            <a:r>
              <a:rPr lang="de-DE" sz="1200" dirty="0"/>
              <a:t> </a:t>
            </a:r>
            <a:r>
              <a:rPr lang="de-DE" sz="1200" dirty="0" err="1"/>
              <a:t>among</a:t>
            </a:r>
            <a:r>
              <a:rPr lang="de-DE" sz="1200" dirty="0"/>
              <a:t> 3 </a:t>
            </a:r>
            <a:r>
              <a:rPr lang="de-DE" sz="1200" dirty="0" err="1"/>
              <a:t>master</a:t>
            </a:r>
            <a:r>
              <a:rPr lang="de-DE" sz="1200" dirty="0"/>
              <a:t> </a:t>
            </a:r>
            <a:r>
              <a:rPr lang="de-DE" sz="1200" dirty="0" err="1"/>
              <a:t>styles</a:t>
            </a:r>
            <a:r>
              <a:rPr lang="de-DE" sz="1200" dirty="0"/>
              <a:t> – </a:t>
            </a:r>
            <a:br>
              <a:rPr lang="de-DE" sz="1200" dirty="0"/>
            </a:br>
            <a:r>
              <a:rPr lang="de-DE" sz="1200" dirty="0" err="1"/>
              <a:t>one</a:t>
            </a:r>
            <a:r>
              <a:rPr lang="de-DE" sz="1200" dirty="0"/>
              <a:t> </a:t>
            </a:r>
            <a:r>
              <a:rPr lang="de-DE" sz="1200" dirty="0" err="1"/>
              <a:t>including</a:t>
            </a:r>
            <a:r>
              <a:rPr lang="de-DE" sz="1200" dirty="0"/>
              <a:t> </a:t>
            </a:r>
            <a:r>
              <a:rPr lang="de-DE" sz="1200" dirty="0" err="1"/>
              <a:t>both</a:t>
            </a:r>
            <a:r>
              <a:rPr lang="de-DE" sz="1200" dirty="0"/>
              <a:t> </a:t>
            </a:r>
            <a:r>
              <a:rPr lang="de-DE" sz="1200" dirty="0" err="1"/>
              <a:t>brands</a:t>
            </a:r>
            <a:r>
              <a:rPr lang="de-DE" sz="1200" dirty="0"/>
              <a:t> </a:t>
            </a:r>
            <a:r>
              <a:rPr lang="de-DE" sz="1200" dirty="0" err="1"/>
              <a:t>and</a:t>
            </a:r>
            <a:r>
              <a:rPr lang="de-DE" sz="1200" dirty="0"/>
              <a:t> </a:t>
            </a:r>
            <a:r>
              <a:rPr lang="de-DE" sz="1200" dirty="0" err="1"/>
              <a:t>two</a:t>
            </a:r>
            <a:r>
              <a:rPr lang="de-DE" sz="1200" dirty="0"/>
              <a:t> </a:t>
            </a:r>
            <a:r>
              <a:rPr lang="de-DE" sz="1200" dirty="0" err="1"/>
              <a:t>with</a:t>
            </a:r>
            <a:r>
              <a:rPr lang="de-DE" sz="1200" dirty="0"/>
              <a:t> </a:t>
            </a:r>
            <a:r>
              <a:rPr lang="de-DE" sz="1200" dirty="0" err="1"/>
              <a:t>one</a:t>
            </a:r>
            <a:r>
              <a:rPr lang="de-DE" sz="1200" dirty="0"/>
              <a:t> </a:t>
            </a:r>
            <a:r>
              <a:rPr lang="de-DE" sz="1200" dirty="0" err="1"/>
              <a:t>brand</a:t>
            </a:r>
            <a:r>
              <a:rPr lang="de-DE" sz="1200" dirty="0"/>
              <a:t> </a:t>
            </a:r>
            <a:r>
              <a:rPr lang="de-DE" sz="1200" dirty="0" err="1"/>
              <a:t>only</a:t>
            </a:r>
            <a:r>
              <a:rPr lang="de-DE" sz="1200" dirty="0"/>
              <a:t>.</a:t>
            </a:r>
          </a:p>
          <a:p>
            <a:endParaRPr lang="de-DE" sz="1200" dirty="0"/>
          </a:p>
          <a:p>
            <a:r>
              <a:rPr lang="de-DE" sz="1200" dirty="0"/>
              <a:t>Just </a:t>
            </a:r>
            <a:r>
              <a:rPr lang="de-DE" sz="1200" dirty="0" err="1"/>
              <a:t>select</a:t>
            </a:r>
            <a:r>
              <a:rPr lang="de-DE" sz="1200" dirty="0"/>
              <a:t> </a:t>
            </a:r>
            <a:r>
              <a:rPr lang="de-DE" sz="1200" dirty="0" err="1"/>
              <a:t>the</a:t>
            </a:r>
            <a:r>
              <a:rPr lang="de-DE" sz="1200" dirty="0"/>
              <a:t> </a:t>
            </a:r>
            <a:r>
              <a:rPr lang="de-DE" sz="1200" dirty="0" err="1"/>
              <a:t>slide</a:t>
            </a:r>
            <a:r>
              <a:rPr lang="de-DE" sz="1200" dirty="0"/>
              <a:t>/s </a:t>
            </a:r>
            <a:r>
              <a:rPr lang="de-DE" sz="1200" dirty="0" err="1"/>
              <a:t>you</a:t>
            </a:r>
            <a:r>
              <a:rPr lang="de-DE" sz="1200" dirty="0"/>
              <a:t> </a:t>
            </a:r>
            <a:r>
              <a:rPr lang="de-DE" sz="1200" dirty="0" err="1"/>
              <a:t>want</a:t>
            </a:r>
            <a:r>
              <a:rPr lang="de-DE" sz="1200" dirty="0"/>
              <a:t> </a:t>
            </a:r>
            <a:r>
              <a:rPr lang="de-DE" sz="1200" dirty="0" err="1"/>
              <a:t>to</a:t>
            </a:r>
            <a:r>
              <a:rPr lang="de-DE" sz="1200" dirty="0"/>
              <a:t> </a:t>
            </a:r>
            <a:r>
              <a:rPr lang="de-DE" sz="1200" dirty="0" err="1"/>
              <a:t>change</a:t>
            </a:r>
            <a:r>
              <a:rPr lang="de-DE" sz="1200" dirty="0"/>
              <a:t>, </a:t>
            </a:r>
            <a:r>
              <a:rPr lang="de-DE" sz="1200" dirty="0" err="1"/>
              <a:t>go</a:t>
            </a:r>
            <a:r>
              <a:rPr lang="de-DE" sz="1200" dirty="0"/>
              <a:t> </a:t>
            </a:r>
            <a:r>
              <a:rPr lang="de-DE" sz="1200" dirty="0" err="1"/>
              <a:t>to</a:t>
            </a:r>
            <a:r>
              <a:rPr lang="de-DE" sz="1200" dirty="0"/>
              <a:t> Design </a:t>
            </a:r>
            <a:r>
              <a:rPr lang="de-DE" sz="1200" dirty="0" err="1"/>
              <a:t>and</a:t>
            </a:r>
            <a:r>
              <a:rPr lang="de-DE" sz="1200" dirty="0"/>
              <a:t> </a:t>
            </a:r>
            <a:r>
              <a:rPr lang="de-DE" sz="1200" dirty="0" err="1"/>
              <a:t>choose</a:t>
            </a:r>
            <a:r>
              <a:rPr lang="de-DE" sz="1200" dirty="0"/>
              <a:t> </a:t>
            </a:r>
            <a:r>
              <a:rPr lang="de-DE" sz="1200" dirty="0" err="1"/>
              <a:t>the</a:t>
            </a:r>
            <a:r>
              <a:rPr lang="de-DE" sz="1200" dirty="0"/>
              <a:t> </a:t>
            </a:r>
            <a:r>
              <a:rPr lang="en-US" sz="1200" dirty="0"/>
              <a:t>“theme” you want to use. </a:t>
            </a:r>
            <a:br>
              <a:rPr lang="en-US" sz="1200" dirty="0"/>
            </a:br>
            <a:r>
              <a:rPr lang="en-US" sz="1200" dirty="0"/>
              <a:t>Please only use the first 3 themes with the different competence brand logos.</a:t>
            </a:r>
          </a:p>
          <a:p>
            <a:endParaRPr lang="en-US" sz="1200" dirty="0"/>
          </a:p>
        </p:txBody>
      </p:sp>
      <p:pic>
        <p:nvPicPr>
          <p:cNvPr id="1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8775" y="2859088"/>
            <a:ext cx="2773065" cy="1127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852726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4.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oleObject" Target="../embeddings/oleObject2.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ags" Target="../tags/tag6.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image" Target="../media/image1.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oleObject" Target="../embeddings/oleObject3.bin"/><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tags" Target="../tags/tag8.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image" Target="../media/image1.emf"/><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oleObject" Target="../embeddings/oleObject4.bin"/><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860944-D880-495A-9928-367CBF8D9E61}"/>
              </a:ext>
            </a:extLst>
          </p:cNvPr>
          <p:cNvGraphicFramePr>
            <a:graphicFrameLocks noChangeAspect="1"/>
          </p:cNvGraphicFramePr>
          <p:nvPr userDrawn="1">
            <p:custDataLst>
              <p:tags r:id="rId27"/>
            </p:custDataLst>
            <p:extLst>
              <p:ext uri="{D42A27DB-BD31-4B8C-83A1-F6EECF244321}">
                <p14:modId xmlns:p14="http://schemas.microsoft.com/office/powerpoint/2010/main" val="1384124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98" imgH="499" progId="TCLayout.ActiveDocument.1">
                  <p:embed/>
                </p:oleObj>
              </mc:Choice>
              <mc:Fallback>
                <p:oleObj name="think-cell Slide" r:id="rId29" imgW="498" imgH="499"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9043D1B-EBDE-41B3-93D7-56DA95FE82AA}"/>
              </a:ext>
            </a:extLst>
          </p:cNvPr>
          <p:cNvSpPr/>
          <p:nvPr userDrawn="1">
            <p:custDataLst>
              <p:tags r:id="rId28"/>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spcBef>
                <a:spcPts val="300"/>
              </a:spcBef>
              <a:spcAft>
                <a:spcPts val="300"/>
              </a:spcAft>
            </a:pPr>
            <a:endParaRPr lang="de-DE"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de-DE"/>
              <a:t>Mastertitelformat bearbeiten</a:t>
            </a:r>
            <a:endParaRPr lang="en-US" noProof="0" dirty="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5" name="Fußzeilenplatzhalter 4"/>
          <p:cNvSpPr>
            <a:spLocks noGrp="1"/>
          </p:cNvSpPr>
          <p:nvPr>
            <p:ph type="ftr" sz="quarter" idx="3"/>
          </p:nvPr>
        </p:nvSpPr>
        <p:spPr bwMode="gray">
          <a:xfrm>
            <a:off x="1043744" y="4911725"/>
            <a:ext cx="3419513" cy="104378"/>
          </a:xfrm>
          <a:prstGeom prst="rect">
            <a:avLst/>
          </a:prstGeom>
        </p:spPr>
        <p:txBody>
          <a:bodyPr vert="horz" lIns="0" tIns="0" rIns="0" bIns="0" rtlCol="0" anchor="b"/>
          <a:lstStyle>
            <a:lvl1pPr algn="l">
              <a:defRPr sz="700">
                <a:solidFill>
                  <a:schemeClr val="tx1"/>
                </a:solidFill>
              </a:defRPr>
            </a:lvl1pPr>
          </a:lstStyle>
          <a:p>
            <a:r>
              <a:rPr lang="en-US" dirty="0"/>
              <a:t>File Name</a:t>
            </a:r>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dirty="0"/>
              <a:t>Page </a:t>
            </a:r>
            <a:fld id="{D126E9C2-5A98-4FED-83CF-BD978A28F274}" type="slidenum">
              <a:rPr lang="en-US" smtClean="0"/>
              <a:pPr/>
              <a:t>‹Nr.›</a:t>
            </a:fld>
            <a:endParaRPr lang="en-US" dirty="0"/>
          </a:p>
        </p:txBody>
      </p:sp>
      <p:sp>
        <p:nvSpPr>
          <p:cNvPr id="4" name="Date Placeholder 3"/>
          <p:cNvSpPr>
            <a:spLocks noGrp="1"/>
          </p:cNvSpPr>
          <p:nvPr>
            <p:ph type="dt" sz="half" idx="2"/>
          </p:nvPr>
        </p:nvSpPr>
        <p:spPr bwMode="gray">
          <a:xfrm>
            <a:off x="4679950" y="4911725"/>
            <a:ext cx="1219995"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dirty="0"/>
          </a:p>
        </p:txBody>
      </p:sp>
      <p:sp>
        <p:nvSpPr>
          <p:cNvPr id="172" name="Freeform 7"/>
          <p:cNvSpPr>
            <a:spLocks noEditPoints="1"/>
          </p:cNvSpPr>
          <p:nvPr/>
        </p:nvSpPr>
        <p:spPr bwMode="gray">
          <a:xfrm>
            <a:off x="7884369" y="216875"/>
            <a:ext cx="899048" cy="192653"/>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rgbClr val="EB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6"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a:ln>
                  <a:noFill/>
                </a:ln>
                <a:solidFill>
                  <a:schemeClr val="bg2"/>
                </a:solidFill>
                <a:effectLst/>
                <a:uLnTx/>
                <a:uFillTx/>
                <a:latin typeface="Arial" pitchFamily="34" charset="0"/>
                <a:cs typeface="Arial" pitchFamily="34" charset="0"/>
              </a:rPr>
              <a:t>It's not allowed to change the master </a:t>
            </a:r>
          </a:p>
        </p:txBody>
      </p:sp>
      <p:sp>
        <p:nvSpPr>
          <p:cNvPr id="117"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grpSp>
        <p:nvGrpSpPr>
          <p:cNvPr id="124" name="Group 123"/>
          <p:cNvGrpSpPr/>
          <p:nvPr/>
        </p:nvGrpSpPr>
        <p:grpSpPr>
          <a:xfrm>
            <a:off x="-12700" y="-134541"/>
            <a:ext cx="9156700" cy="107156"/>
            <a:chOff x="-12700" y="-134541"/>
            <a:chExt cx="9156700" cy="107156"/>
          </a:xfrm>
        </p:grpSpPr>
        <p:sp>
          <p:nvSpPr>
            <p:cNvPr id="125"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6"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7"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8"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9"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0"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1"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2"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4"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6"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7"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169" name="Group 118"/>
            <p:cNvGrpSpPr>
              <a:grpSpLocks/>
            </p:cNvGrpSpPr>
            <p:nvPr userDrawn="1"/>
          </p:nvGrpSpPr>
          <p:grpSpPr bwMode="gray">
            <a:xfrm>
              <a:off x="357188" y="-80963"/>
              <a:ext cx="8428038" cy="53578"/>
              <a:chOff x="225" y="-63"/>
              <a:chExt cx="5309" cy="45"/>
            </a:xfrm>
          </p:grpSpPr>
          <p:sp>
            <p:nvSpPr>
              <p:cNvPr id="181"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2"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16"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5"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6"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7"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8"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9"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0"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1"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170"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3"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4"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5"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6"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177"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178"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9"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80"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grpSp>
      <p:grpSp>
        <p:nvGrpSpPr>
          <p:cNvPr id="242" name="Group 241"/>
          <p:cNvGrpSpPr/>
          <p:nvPr/>
        </p:nvGrpSpPr>
        <p:grpSpPr>
          <a:xfrm>
            <a:off x="-981075" y="404813"/>
            <a:ext cx="952501" cy="4745831"/>
            <a:chOff x="-981075" y="404813"/>
            <a:chExt cx="952501" cy="4745831"/>
          </a:xfrm>
        </p:grpSpPr>
        <p:sp>
          <p:nvSpPr>
            <p:cNvPr id="243"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4"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5"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6"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7"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8"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9"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250"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251"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252"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253"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254"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255"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256"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257"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258"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9"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0"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sp>
        <p:nvSpPr>
          <p:cNvPr id="261"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a:ln>
                  <a:noFill/>
                </a:ln>
                <a:solidFill>
                  <a:schemeClr val="tx1"/>
                </a:solidFill>
                <a:effectLst/>
                <a:uLnTx/>
                <a:uFillTx/>
              </a:rPr>
              <a:t>Version September 2016</a:t>
            </a:r>
          </a:p>
        </p:txBody>
      </p:sp>
      <p:sp>
        <p:nvSpPr>
          <p:cNvPr id="262"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sp>
        <p:nvSpPr>
          <p:cNvPr id="263" name="Line 110"/>
          <p:cNvSpPr>
            <a:spLocks noChangeShapeType="1"/>
          </p:cNvSpPr>
          <p:nvPr/>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4" name="Line 111"/>
          <p:cNvSpPr>
            <a:spLocks noChangeShapeType="1"/>
          </p:cNvSpPr>
          <p:nvPr/>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5" name="Line 112"/>
          <p:cNvSpPr>
            <a:spLocks noChangeShapeType="1"/>
          </p:cNvSpPr>
          <p:nvPr/>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6" name="Line 113"/>
          <p:cNvSpPr>
            <a:spLocks noChangeShapeType="1"/>
          </p:cNvSpPr>
          <p:nvPr/>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7" name="Line 114"/>
          <p:cNvSpPr>
            <a:spLocks noChangeShapeType="1"/>
          </p:cNvSpPr>
          <p:nvPr/>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8" name="Line 115"/>
          <p:cNvSpPr>
            <a:spLocks noChangeShapeType="1"/>
          </p:cNvSpPr>
          <p:nvPr/>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9" name="Line 110"/>
          <p:cNvSpPr>
            <a:spLocks noChangeShapeType="1"/>
          </p:cNvSpPr>
          <p:nvPr/>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0" name="Line 110"/>
          <p:cNvSpPr>
            <a:spLocks noChangeShapeType="1"/>
          </p:cNvSpPr>
          <p:nvPr/>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7" name="Line 110"/>
          <p:cNvSpPr>
            <a:spLocks noChangeShapeType="1"/>
          </p:cNvSpPr>
          <p:nvPr/>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8" name="Line 110"/>
          <p:cNvSpPr>
            <a:spLocks noChangeShapeType="1"/>
          </p:cNvSpPr>
          <p:nvPr/>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9" name="Text Box 129"/>
          <p:cNvSpPr txBox="1">
            <a:spLocks noChangeArrowheads="1"/>
          </p:cNvSpPr>
          <p:nvPr/>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280" name="Group 118"/>
          <p:cNvGrpSpPr>
            <a:grpSpLocks/>
          </p:cNvGrpSpPr>
          <p:nvPr/>
        </p:nvGrpSpPr>
        <p:grpSpPr bwMode="gray">
          <a:xfrm>
            <a:off x="357188" y="5224440"/>
            <a:ext cx="8428038" cy="53578"/>
            <a:chOff x="225" y="-63"/>
            <a:chExt cx="5309" cy="45"/>
          </a:xfrm>
        </p:grpSpPr>
        <p:sp>
          <p:nvSpPr>
            <p:cNvPr id="281"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2"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4"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5"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6"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7"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8"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9"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0"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1"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292" name="Text Box 125"/>
          <p:cNvSpPr txBox="1">
            <a:spLocks noChangeArrowheads="1"/>
          </p:cNvSpPr>
          <p:nvPr/>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3" name="Text Box 126"/>
          <p:cNvSpPr txBox="1">
            <a:spLocks noChangeArrowheads="1"/>
          </p:cNvSpPr>
          <p:nvPr/>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4" name="Text Box 127"/>
          <p:cNvSpPr txBox="1">
            <a:spLocks noChangeArrowheads="1"/>
          </p:cNvSpPr>
          <p:nvPr/>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5" name="Text Box 128"/>
          <p:cNvSpPr txBox="1">
            <a:spLocks noChangeArrowheads="1"/>
          </p:cNvSpPr>
          <p:nvPr/>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6" name="Text Box 130"/>
          <p:cNvSpPr txBox="1">
            <a:spLocks noChangeArrowheads="1"/>
          </p:cNvSpPr>
          <p:nvPr/>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297" name="Text Box 125"/>
          <p:cNvSpPr txBox="1">
            <a:spLocks noChangeArrowheads="1"/>
          </p:cNvSpPr>
          <p:nvPr/>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8" name="Text Box 125"/>
          <p:cNvSpPr txBox="1">
            <a:spLocks noChangeArrowheads="1"/>
          </p:cNvSpPr>
          <p:nvPr/>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9" name="Text Box 125"/>
          <p:cNvSpPr txBox="1">
            <a:spLocks noChangeArrowheads="1"/>
          </p:cNvSpPr>
          <p:nvPr/>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300" name="Text Box 125"/>
          <p:cNvSpPr txBox="1">
            <a:spLocks noChangeArrowheads="1"/>
          </p:cNvSpPr>
          <p:nvPr/>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301"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2"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3"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4"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5"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6"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7"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308"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309"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310"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311"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312"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313"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314"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315"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316"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7"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8"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sp>
        <p:nvSpPr>
          <p:cNvPr id="118" name="Graphic 8">
            <a:extLst>
              <a:ext uri="{FF2B5EF4-FFF2-40B4-BE49-F238E27FC236}">
                <a16:creationId xmlns:a16="http://schemas.microsoft.com/office/drawing/2014/main" id="{36E6FC03-2123-4458-B7A2-B53BBF36D46F}"/>
              </a:ext>
            </a:extLst>
          </p:cNvPr>
          <p:cNvSpPr>
            <a:spLocks/>
          </p:cNvSpPr>
          <p:nvPr userDrawn="1"/>
        </p:nvSpPr>
        <p:spPr>
          <a:xfrm>
            <a:off x="7642033" y="4829940"/>
            <a:ext cx="490091" cy="211365"/>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
        <p:nvSpPr>
          <p:cNvPr id="119" name="Graphic 3">
            <a:extLst>
              <a:ext uri="{FF2B5EF4-FFF2-40B4-BE49-F238E27FC236}">
                <a16:creationId xmlns:a16="http://schemas.microsoft.com/office/drawing/2014/main" id="{030CBCD9-30F1-4A44-961B-A6A5B118E39E}"/>
              </a:ext>
            </a:extLst>
          </p:cNvPr>
          <p:cNvSpPr>
            <a:spLocks/>
          </p:cNvSpPr>
          <p:nvPr userDrawn="1"/>
        </p:nvSpPr>
        <p:spPr>
          <a:xfrm>
            <a:off x="6981730" y="4829940"/>
            <a:ext cx="490091" cy="211365"/>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grpSp>
        <p:nvGrpSpPr>
          <p:cNvPr id="120" name="Graphic 10">
            <a:extLst>
              <a:ext uri="{FF2B5EF4-FFF2-40B4-BE49-F238E27FC236}">
                <a16:creationId xmlns:a16="http://schemas.microsoft.com/office/drawing/2014/main" id="{554F13DF-AF86-44CB-845B-9CB88E65783B}"/>
              </a:ext>
            </a:extLst>
          </p:cNvPr>
          <p:cNvGrpSpPr>
            <a:grpSpLocks/>
          </p:cNvGrpSpPr>
          <p:nvPr userDrawn="1"/>
        </p:nvGrpSpPr>
        <p:grpSpPr>
          <a:xfrm>
            <a:off x="8302336" y="4825602"/>
            <a:ext cx="490091" cy="192973"/>
            <a:chOff x="3810000" y="2271712"/>
            <a:chExt cx="1524000" cy="600075"/>
          </a:xfrm>
        </p:grpSpPr>
        <p:sp>
          <p:nvSpPr>
            <p:cNvPr id="121" name="Freeform: Shape 120">
              <a:extLst>
                <a:ext uri="{FF2B5EF4-FFF2-40B4-BE49-F238E27FC236}">
                  <a16:creationId xmlns:a16="http://schemas.microsoft.com/office/drawing/2014/main" id="{E5695B69-A52D-40F5-8478-753D60B4CB64}"/>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22" name="Freeform: Shape 121">
              <a:extLst>
                <a:ext uri="{FF2B5EF4-FFF2-40B4-BE49-F238E27FC236}">
                  <a16:creationId xmlns:a16="http://schemas.microsoft.com/office/drawing/2014/main" id="{2FFBE63F-58AF-4414-A7A3-BCC6C391D034}"/>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4259185133"/>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0" r:id="rId3"/>
    <p:sldLayoutId id="2147483651" r:id="rId4"/>
    <p:sldLayoutId id="2147483652" r:id="rId5"/>
    <p:sldLayoutId id="2147483653" r:id="rId6"/>
    <p:sldLayoutId id="2147483655" r:id="rId7"/>
    <p:sldLayoutId id="2147483654" r:id="rId8"/>
    <p:sldLayoutId id="2147483656" r:id="rId9"/>
    <p:sldLayoutId id="2147483657" r:id="rId10"/>
    <p:sldLayoutId id="2147483665" r:id="rId11"/>
    <p:sldLayoutId id="2147483658" r:id="rId12"/>
    <p:sldLayoutId id="2147483659" r:id="rId13"/>
    <p:sldLayoutId id="2147483660" r:id="rId14"/>
    <p:sldLayoutId id="2147483668" r:id="rId15"/>
    <p:sldLayoutId id="2147483666" r:id="rId16"/>
    <p:sldLayoutId id="2147483667" r:id="rId17"/>
    <p:sldLayoutId id="2147483669" r:id="rId18"/>
    <p:sldLayoutId id="2147483662" r:id="rId19"/>
    <p:sldLayoutId id="2147483749" r:id="rId20"/>
    <p:sldLayoutId id="2147483748" r:id="rId21"/>
    <p:sldLayoutId id="2147483720" r:id="rId22"/>
    <p:sldLayoutId id="2147483721" r:id="rId23"/>
    <p:sldLayoutId id="2147483722" r:id="rId24"/>
    <p:sldLayoutId id="2147483723" r:id="rId25"/>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BC6B23-5D81-452E-8B21-0D69DF1AA20F}"/>
              </a:ext>
            </a:extLst>
          </p:cNvPr>
          <p:cNvGraphicFramePr>
            <a:graphicFrameLocks noChangeAspect="1"/>
          </p:cNvGraphicFramePr>
          <p:nvPr userDrawn="1">
            <p:custDataLst>
              <p:tags r:id="rId26"/>
            </p:custDataLst>
            <p:extLst>
              <p:ext uri="{D42A27DB-BD31-4B8C-83A1-F6EECF244321}">
                <p14:modId xmlns:p14="http://schemas.microsoft.com/office/powerpoint/2010/main" val="3929379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98" imgH="499" progId="TCLayout.ActiveDocument.1">
                  <p:embed/>
                </p:oleObj>
              </mc:Choice>
              <mc:Fallback>
                <p:oleObj name="think-cell Slide" r:id="rId28" imgW="498" imgH="499"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79D48F8-ED90-4854-BA7D-BD2E654987AC}"/>
              </a:ext>
            </a:extLst>
          </p:cNvPr>
          <p:cNvSpPr/>
          <p:nvPr userDrawn="1">
            <p:custDataLst>
              <p:tags r:id="rId2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spcBef>
                <a:spcPts val="300"/>
              </a:spcBef>
              <a:spcAft>
                <a:spcPts val="300"/>
              </a:spcAft>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en-US" dirty="0"/>
              <a:t>Click to edit Master title style</a:t>
            </a:r>
            <a:endParaRPr lang="en-US" noProof="0" dirty="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5" name="Fußzeilenplatzhalter 4"/>
          <p:cNvSpPr>
            <a:spLocks noGrp="1"/>
          </p:cNvSpPr>
          <p:nvPr>
            <p:ph type="ftr" sz="quarter" idx="3"/>
          </p:nvPr>
        </p:nvSpPr>
        <p:spPr bwMode="gray">
          <a:xfrm>
            <a:off x="1043744" y="4911725"/>
            <a:ext cx="6838988" cy="104378"/>
          </a:xfrm>
          <a:prstGeom prst="rect">
            <a:avLst/>
          </a:prstGeom>
        </p:spPr>
        <p:txBody>
          <a:bodyPr vert="horz" lIns="0" tIns="0" rIns="0" bIns="0" rtlCol="0" anchor="b"/>
          <a:lstStyle>
            <a:lvl1pPr algn="l">
              <a:defRPr sz="700">
                <a:solidFill>
                  <a:schemeClr val="tx1"/>
                </a:solidFill>
              </a:defRPr>
            </a:lvl1pPr>
          </a:lstStyle>
          <a:p>
            <a:r>
              <a:rPr lang="en-US" dirty="0"/>
              <a:t>File Name</a:t>
            </a:r>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dirty="0"/>
              <a:t>Page </a:t>
            </a:r>
            <a:fld id="{D126E9C2-5A98-4FED-83CF-BD978A28F274}" type="slidenum">
              <a:rPr lang="en-US" smtClean="0"/>
              <a:pPr/>
              <a:t>‹Nr.›</a:t>
            </a:fld>
            <a:endParaRPr lang="en-US" dirty="0"/>
          </a:p>
        </p:txBody>
      </p:sp>
      <p:sp>
        <p:nvSpPr>
          <p:cNvPr id="4" name="Date Placeholder 3"/>
          <p:cNvSpPr>
            <a:spLocks noGrp="1"/>
          </p:cNvSpPr>
          <p:nvPr>
            <p:ph type="dt" sz="half" idx="2"/>
          </p:nvPr>
        </p:nvSpPr>
        <p:spPr bwMode="gray">
          <a:xfrm>
            <a:off x="7885113" y="4911725"/>
            <a:ext cx="900111"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dirty="0"/>
          </a:p>
        </p:txBody>
      </p:sp>
      <p:sp>
        <p:nvSpPr>
          <p:cNvPr id="114"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a:ln>
                  <a:noFill/>
                </a:ln>
                <a:solidFill>
                  <a:schemeClr val="bg2"/>
                </a:solidFill>
                <a:effectLst/>
                <a:uLnTx/>
                <a:uFillTx/>
                <a:latin typeface="Arial" pitchFamily="34" charset="0"/>
                <a:cs typeface="Arial" pitchFamily="34" charset="0"/>
              </a:rPr>
              <a:t>It's not allowed to change the master </a:t>
            </a:r>
          </a:p>
        </p:txBody>
      </p:sp>
      <p:sp>
        <p:nvSpPr>
          <p:cNvPr id="116"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grpSp>
        <p:nvGrpSpPr>
          <p:cNvPr id="117" name="Group 116"/>
          <p:cNvGrpSpPr/>
          <p:nvPr/>
        </p:nvGrpSpPr>
        <p:grpSpPr>
          <a:xfrm>
            <a:off x="-12700" y="-134541"/>
            <a:ext cx="9156700" cy="107156"/>
            <a:chOff x="-12700" y="-134541"/>
            <a:chExt cx="9156700" cy="107156"/>
          </a:xfrm>
        </p:grpSpPr>
        <p:sp>
          <p:nvSpPr>
            <p:cNvPr id="124"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5"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6"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7"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8"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9"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0"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1"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2"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4"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6"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137" name="Group 118"/>
            <p:cNvGrpSpPr>
              <a:grpSpLocks/>
            </p:cNvGrpSpPr>
            <p:nvPr userDrawn="1"/>
          </p:nvGrpSpPr>
          <p:grpSpPr bwMode="gray">
            <a:xfrm>
              <a:off x="357188" y="-80963"/>
              <a:ext cx="8428038" cy="53578"/>
              <a:chOff x="225" y="-63"/>
              <a:chExt cx="5309" cy="45"/>
            </a:xfrm>
          </p:grpSpPr>
          <p:sp>
            <p:nvSpPr>
              <p:cNvPr id="1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16"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169"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0"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3"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4"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5"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176"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177"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8"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9"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grpSp>
      <p:grpSp>
        <p:nvGrpSpPr>
          <p:cNvPr id="241" name="Group 240"/>
          <p:cNvGrpSpPr/>
          <p:nvPr/>
        </p:nvGrpSpPr>
        <p:grpSpPr>
          <a:xfrm>
            <a:off x="-981075" y="404813"/>
            <a:ext cx="952501" cy="4745831"/>
            <a:chOff x="-981075" y="404813"/>
            <a:chExt cx="952501" cy="4745831"/>
          </a:xfrm>
        </p:grpSpPr>
        <p:sp>
          <p:nvSpPr>
            <p:cNvPr id="242"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3"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4"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5"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6"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7"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8"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249"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250"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251"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252"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253"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254"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255"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256"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257"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8"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9"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sp>
        <p:nvSpPr>
          <p:cNvPr id="260"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a:ln>
                  <a:noFill/>
                </a:ln>
                <a:solidFill>
                  <a:schemeClr val="tx1"/>
                </a:solidFill>
                <a:effectLst/>
                <a:uLnTx/>
                <a:uFillTx/>
              </a:rPr>
              <a:t>Version September 2016</a:t>
            </a:r>
          </a:p>
        </p:txBody>
      </p:sp>
      <p:sp>
        <p:nvSpPr>
          <p:cNvPr id="261"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sp>
        <p:nvSpPr>
          <p:cNvPr id="262" name="Line 110"/>
          <p:cNvSpPr>
            <a:spLocks noChangeShapeType="1"/>
          </p:cNvSpPr>
          <p:nvPr/>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3" name="Line 111"/>
          <p:cNvSpPr>
            <a:spLocks noChangeShapeType="1"/>
          </p:cNvSpPr>
          <p:nvPr/>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4" name="Line 112"/>
          <p:cNvSpPr>
            <a:spLocks noChangeShapeType="1"/>
          </p:cNvSpPr>
          <p:nvPr/>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5" name="Line 113"/>
          <p:cNvSpPr>
            <a:spLocks noChangeShapeType="1"/>
          </p:cNvSpPr>
          <p:nvPr/>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6" name="Line 114"/>
          <p:cNvSpPr>
            <a:spLocks noChangeShapeType="1"/>
          </p:cNvSpPr>
          <p:nvPr/>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7" name="Line 115"/>
          <p:cNvSpPr>
            <a:spLocks noChangeShapeType="1"/>
          </p:cNvSpPr>
          <p:nvPr/>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8" name="Line 110"/>
          <p:cNvSpPr>
            <a:spLocks noChangeShapeType="1"/>
          </p:cNvSpPr>
          <p:nvPr/>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9" name="Line 110"/>
          <p:cNvSpPr>
            <a:spLocks noChangeShapeType="1"/>
          </p:cNvSpPr>
          <p:nvPr/>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0" name="Line 110"/>
          <p:cNvSpPr>
            <a:spLocks noChangeShapeType="1"/>
          </p:cNvSpPr>
          <p:nvPr/>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7" name="Line 110"/>
          <p:cNvSpPr>
            <a:spLocks noChangeShapeType="1"/>
          </p:cNvSpPr>
          <p:nvPr/>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8" name="Text Box 129"/>
          <p:cNvSpPr txBox="1">
            <a:spLocks noChangeArrowheads="1"/>
          </p:cNvSpPr>
          <p:nvPr/>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279" name="Group 118"/>
          <p:cNvGrpSpPr>
            <a:grpSpLocks/>
          </p:cNvGrpSpPr>
          <p:nvPr/>
        </p:nvGrpSpPr>
        <p:grpSpPr bwMode="gray">
          <a:xfrm>
            <a:off x="357188" y="5224440"/>
            <a:ext cx="8428038" cy="53578"/>
            <a:chOff x="225" y="-63"/>
            <a:chExt cx="5309" cy="45"/>
          </a:xfrm>
        </p:grpSpPr>
        <p:sp>
          <p:nvSpPr>
            <p:cNvPr id="2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4"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291" name="Text Box 125"/>
          <p:cNvSpPr txBox="1">
            <a:spLocks noChangeArrowheads="1"/>
          </p:cNvSpPr>
          <p:nvPr/>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2" name="Text Box 126"/>
          <p:cNvSpPr txBox="1">
            <a:spLocks noChangeArrowheads="1"/>
          </p:cNvSpPr>
          <p:nvPr/>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3" name="Text Box 127"/>
          <p:cNvSpPr txBox="1">
            <a:spLocks noChangeArrowheads="1"/>
          </p:cNvSpPr>
          <p:nvPr/>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4" name="Text Box 128"/>
          <p:cNvSpPr txBox="1">
            <a:spLocks noChangeArrowheads="1"/>
          </p:cNvSpPr>
          <p:nvPr/>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5" name="Text Box 130"/>
          <p:cNvSpPr txBox="1">
            <a:spLocks noChangeArrowheads="1"/>
          </p:cNvSpPr>
          <p:nvPr/>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296" name="Text Box 125"/>
          <p:cNvSpPr txBox="1">
            <a:spLocks noChangeArrowheads="1"/>
          </p:cNvSpPr>
          <p:nvPr/>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7" name="Text Box 125"/>
          <p:cNvSpPr txBox="1">
            <a:spLocks noChangeArrowheads="1"/>
          </p:cNvSpPr>
          <p:nvPr/>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8" name="Text Box 125"/>
          <p:cNvSpPr txBox="1">
            <a:spLocks noChangeArrowheads="1"/>
          </p:cNvSpPr>
          <p:nvPr/>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9" name="Text Box 125"/>
          <p:cNvSpPr txBox="1">
            <a:spLocks noChangeArrowheads="1"/>
          </p:cNvSpPr>
          <p:nvPr/>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300"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1"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2"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3"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4"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5"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6"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307"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308"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309"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310"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311"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312"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313"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314"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315"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6"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7"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sp>
        <p:nvSpPr>
          <p:cNvPr id="113" name="Graphic 3">
            <a:extLst>
              <a:ext uri="{FF2B5EF4-FFF2-40B4-BE49-F238E27FC236}">
                <a16:creationId xmlns:a16="http://schemas.microsoft.com/office/drawing/2014/main" id="{3D2E502B-526B-4C91-897E-3D557A942C3A}"/>
              </a:ext>
            </a:extLst>
          </p:cNvPr>
          <p:cNvSpPr>
            <a:spLocks/>
          </p:cNvSpPr>
          <p:nvPr userDrawn="1"/>
        </p:nvSpPr>
        <p:spPr>
          <a:xfrm>
            <a:off x="7885261" y="216875"/>
            <a:ext cx="899751" cy="388042"/>
          </a:xfrm>
          <a:custGeom>
            <a:avLst/>
            <a:gdLst>
              <a:gd name="connsiteX0" fmla="*/ 35147 w 1523904"/>
              <a:gd name="connsiteY0" fmla="*/ 398621 h 657225"/>
              <a:gd name="connsiteX1" fmla="*/ 35052 w 1523904"/>
              <a:gd name="connsiteY1" fmla="*/ 383762 h 657225"/>
              <a:gd name="connsiteX2" fmla="*/ 16288 w 1523904"/>
              <a:gd name="connsiteY2" fmla="*/ 383762 h 657225"/>
              <a:gd name="connsiteX3" fmla="*/ 16288 w 1523904"/>
              <a:gd name="connsiteY3" fmla="*/ 398621 h 657225"/>
              <a:gd name="connsiteX4" fmla="*/ 35147 w 1523904"/>
              <a:gd name="connsiteY4" fmla="*/ 398621 h 657225"/>
              <a:gd name="connsiteX5" fmla="*/ 16288 w 1523904"/>
              <a:gd name="connsiteY5" fmla="*/ 398621 h 657225"/>
              <a:gd name="connsiteX6" fmla="*/ 16288 w 1523904"/>
              <a:gd name="connsiteY6" fmla="*/ 484823 h 657225"/>
              <a:gd name="connsiteX7" fmla="*/ 41529 w 1523904"/>
              <a:gd name="connsiteY7" fmla="*/ 484823 h 657225"/>
              <a:gd name="connsiteX8" fmla="*/ 47054 w 1523904"/>
              <a:gd name="connsiteY8" fmla="*/ 474821 h 657225"/>
              <a:gd name="connsiteX9" fmla="*/ 63627 w 1523904"/>
              <a:gd name="connsiteY9" fmla="*/ 459962 h 657225"/>
              <a:gd name="connsiteX10" fmla="*/ 88964 w 1523904"/>
              <a:gd name="connsiteY10" fmla="*/ 453962 h 657225"/>
              <a:gd name="connsiteX11" fmla="*/ 111824 w 1523904"/>
              <a:gd name="connsiteY11" fmla="*/ 459962 h 657225"/>
              <a:gd name="connsiteX12" fmla="*/ 127254 w 1523904"/>
              <a:gd name="connsiteY12" fmla="*/ 474821 h 657225"/>
              <a:gd name="connsiteX13" fmla="*/ 132588 w 1523904"/>
              <a:gd name="connsiteY13" fmla="*/ 484823 h 657225"/>
              <a:gd name="connsiteX14" fmla="*/ 152495 w 1523904"/>
              <a:gd name="connsiteY14" fmla="*/ 484823 h 657225"/>
              <a:gd name="connsiteX15" fmla="*/ 140875 w 1523904"/>
              <a:gd name="connsiteY15" fmla="*/ 462629 h 657225"/>
              <a:gd name="connsiteX16" fmla="*/ 119158 w 1523904"/>
              <a:gd name="connsiteY16" fmla="*/ 444722 h 657225"/>
              <a:gd name="connsiteX17" fmla="*/ 88868 w 1523904"/>
              <a:gd name="connsiteY17" fmla="*/ 438150 h 657225"/>
              <a:gd name="connsiteX18" fmla="*/ 72200 w 1523904"/>
              <a:gd name="connsiteY18" fmla="*/ 440246 h 657225"/>
              <a:gd name="connsiteX19" fmla="*/ 56769 w 1523904"/>
              <a:gd name="connsiteY19" fmla="*/ 446818 h 657225"/>
              <a:gd name="connsiteX20" fmla="*/ 44006 w 1523904"/>
              <a:gd name="connsiteY20" fmla="*/ 457295 h 657225"/>
              <a:gd name="connsiteX21" fmla="*/ 35624 w 1523904"/>
              <a:gd name="connsiteY21" fmla="*/ 471869 h 657225"/>
              <a:gd name="connsiteX22" fmla="*/ 35147 w 1523904"/>
              <a:gd name="connsiteY22" fmla="*/ 398621 h 657225"/>
              <a:gd name="connsiteX23" fmla="*/ 16288 w 1523904"/>
              <a:gd name="connsiteY23" fmla="*/ 398621 h 657225"/>
              <a:gd name="connsiteX24" fmla="*/ 16288 w 1523904"/>
              <a:gd name="connsiteY24" fmla="*/ 398621 h 657225"/>
              <a:gd name="connsiteX25" fmla="*/ 198406 w 1523904"/>
              <a:gd name="connsiteY25" fmla="*/ 484823 h 657225"/>
              <a:gd name="connsiteX26" fmla="*/ 209931 w 1523904"/>
              <a:gd name="connsiteY26" fmla="*/ 462629 h 657225"/>
              <a:gd name="connsiteX27" fmla="*/ 239173 w 1523904"/>
              <a:gd name="connsiteY27" fmla="*/ 453962 h 657225"/>
              <a:gd name="connsiteX28" fmla="*/ 254603 w 1523904"/>
              <a:gd name="connsiteY28" fmla="*/ 455486 h 657225"/>
              <a:gd name="connsiteX29" fmla="*/ 267367 w 1523904"/>
              <a:gd name="connsiteY29" fmla="*/ 460248 h 657225"/>
              <a:gd name="connsiteX30" fmla="*/ 276035 w 1523904"/>
              <a:gd name="connsiteY30" fmla="*/ 470059 h 657225"/>
              <a:gd name="connsiteX31" fmla="*/ 279273 w 1523904"/>
              <a:gd name="connsiteY31" fmla="*/ 484727 h 657225"/>
              <a:gd name="connsiteX32" fmla="*/ 298037 w 1523904"/>
              <a:gd name="connsiteY32" fmla="*/ 484727 h 657225"/>
              <a:gd name="connsiteX33" fmla="*/ 292989 w 1523904"/>
              <a:gd name="connsiteY33" fmla="*/ 462534 h 657225"/>
              <a:gd name="connsiteX34" fmla="*/ 279940 w 1523904"/>
              <a:gd name="connsiteY34" fmla="*/ 447389 h 657225"/>
              <a:gd name="connsiteX35" fmla="*/ 261747 w 1523904"/>
              <a:gd name="connsiteY35" fmla="*/ 440246 h 657225"/>
              <a:gd name="connsiteX36" fmla="*/ 241554 w 1523904"/>
              <a:gd name="connsiteY36" fmla="*/ 438150 h 657225"/>
              <a:gd name="connsiteX37" fmla="*/ 217075 w 1523904"/>
              <a:gd name="connsiteY37" fmla="*/ 441198 h 657225"/>
              <a:gd name="connsiteX38" fmla="*/ 197739 w 1523904"/>
              <a:gd name="connsiteY38" fmla="*/ 450437 h 657225"/>
              <a:gd name="connsiteX39" fmla="*/ 184976 w 1523904"/>
              <a:gd name="connsiteY39" fmla="*/ 466439 h 657225"/>
              <a:gd name="connsiteX40" fmla="*/ 179737 w 1523904"/>
              <a:gd name="connsiteY40" fmla="*/ 484727 h 657225"/>
              <a:gd name="connsiteX41" fmla="*/ 198406 w 1523904"/>
              <a:gd name="connsiteY41" fmla="*/ 484823 h 657225"/>
              <a:gd name="connsiteX42" fmla="*/ 358997 w 1523904"/>
              <a:gd name="connsiteY42" fmla="*/ 484823 h 657225"/>
              <a:gd name="connsiteX43" fmla="*/ 366998 w 1523904"/>
              <a:gd name="connsiteY43" fmla="*/ 474250 h 657225"/>
              <a:gd name="connsiteX44" fmla="*/ 385191 w 1523904"/>
              <a:gd name="connsiteY44" fmla="*/ 462915 h 657225"/>
              <a:gd name="connsiteX45" fmla="*/ 408432 w 1523904"/>
              <a:gd name="connsiteY45" fmla="*/ 459391 h 657225"/>
              <a:gd name="connsiteX46" fmla="*/ 408432 w 1523904"/>
              <a:gd name="connsiteY46" fmla="*/ 440626 h 657225"/>
              <a:gd name="connsiteX47" fmla="*/ 372428 w 1523904"/>
              <a:gd name="connsiteY47" fmla="*/ 449866 h 657225"/>
              <a:gd name="connsiteX48" fmla="*/ 350520 w 1523904"/>
              <a:gd name="connsiteY48" fmla="*/ 478726 h 657225"/>
              <a:gd name="connsiteX49" fmla="*/ 349853 w 1523904"/>
              <a:gd name="connsiteY49" fmla="*/ 442817 h 657225"/>
              <a:gd name="connsiteX50" fmla="*/ 332613 w 1523904"/>
              <a:gd name="connsiteY50" fmla="*/ 442817 h 657225"/>
              <a:gd name="connsiteX51" fmla="*/ 332613 w 1523904"/>
              <a:gd name="connsiteY51" fmla="*/ 484918 h 657225"/>
              <a:gd name="connsiteX52" fmla="*/ 358997 w 1523904"/>
              <a:gd name="connsiteY52" fmla="*/ 484823 h 657225"/>
              <a:gd name="connsiteX53" fmla="*/ 445580 w 1523904"/>
              <a:gd name="connsiteY53" fmla="*/ 484823 h 657225"/>
              <a:gd name="connsiteX54" fmla="*/ 452628 w 1523904"/>
              <a:gd name="connsiteY54" fmla="*/ 470440 h 657225"/>
              <a:gd name="connsiteX55" fmla="*/ 467011 w 1523904"/>
              <a:gd name="connsiteY55" fmla="*/ 458534 h 657225"/>
              <a:gd name="connsiteX56" fmla="*/ 487775 w 1523904"/>
              <a:gd name="connsiteY56" fmla="*/ 454057 h 657225"/>
              <a:gd name="connsiteX57" fmla="*/ 502920 w 1523904"/>
              <a:gd name="connsiteY57" fmla="*/ 457105 h 657225"/>
              <a:gd name="connsiteX58" fmla="*/ 512731 w 1523904"/>
              <a:gd name="connsiteY58" fmla="*/ 465487 h 657225"/>
              <a:gd name="connsiteX59" fmla="*/ 518065 w 1523904"/>
              <a:gd name="connsiteY59" fmla="*/ 477679 h 657225"/>
              <a:gd name="connsiteX60" fmla="*/ 519398 w 1523904"/>
              <a:gd name="connsiteY60" fmla="*/ 484918 h 657225"/>
              <a:gd name="connsiteX61" fmla="*/ 541306 w 1523904"/>
              <a:gd name="connsiteY61" fmla="*/ 484918 h 657225"/>
              <a:gd name="connsiteX62" fmla="*/ 547211 w 1523904"/>
              <a:gd name="connsiteY62" fmla="*/ 471107 h 657225"/>
              <a:gd name="connsiteX63" fmla="*/ 559975 w 1523904"/>
              <a:gd name="connsiteY63" fmla="*/ 458915 h 657225"/>
              <a:gd name="connsiteX64" fmla="*/ 580263 w 1523904"/>
              <a:gd name="connsiteY64" fmla="*/ 454152 h 657225"/>
              <a:gd name="connsiteX65" fmla="*/ 608552 w 1523904"/>
              <a:gd name="connsiteY65" fmla="*/ 464249 h 657225"/>
              <a:gd name="connsiteX66" fmla="*/ 616172 w 1523904"/>
              <a:gd name="connsiteY66" fmla="*/ 485013 h 657225"/>
              <a:gd name="connsiteX67" fmla="*/ 635127 w 1523904"/>
              <a:gd name="connsiteY67" fmla="*/ 485013 h 657225"/>
              <a:gd name="connsiteX68" fmla="*/ 584454 w 1523904"/>
              <a:gd name="connsiteY68" fmla="*/ 438341 h 657225"/>
              <a:gd name="connsiteX69" fmla="*/ 555974 w 1523904"/>
              <a:gd name="connsiteY69" fmla="*/ 445865 h 657225"/>
              <a:gd name="connsiteX70" fmla="*/ 535781 w 1523904"/>
              <a:gd name="connsiteY70" fmla="*/ 468440 h 657225"/>
              <a:gd name="connsiteX71" fmla="*/ 519113 w 1523904"/>
              <a:gd name="connsiteY71" fmla="*/ 445865 h 657225"/>
              <a:gd name="connsiteX72" fmla="*/ 491681 w 1523904"/>
              <a:gd name="connsiteY72" fmla="*/ 438150 h 657225"/>
              <a:gd name="connsiteX73" fmla="*/ 460724 w 1523904"/>
              <a:gd name="connsiteY73" fmla="*/ 446246 h 657225"/>
              <a:gd name="connsiteX74" fmla="*/ 441484 w 1523904"/>
              <a:gd name="connsiteY74" fmla="*/ 468535 h 657225"/>
              <a:gd name="connsiteX75" fmla="*/ 440531 w 1523904"/>
              <a:gd name="connsiteY75" fmla="*/ 442722 h 657225"/>
              <a:gd name="connsiteX76" fmla="*/ 423291 w 1523904"/>
              <a:gd name="connsiteY76" fmla="*/ 442722 h 657225"/>
              <a:gd name="connsiteX77" fmla="*/ 423291 w 1523904"/>
              <a:gd name="connsiteY77" fmla="*/ 484823 h 657225"/>
              <a:gd name="connsiteX78" fmla="*/ 445580 w 1523904"/>
              <a:gd name="connsiteY78" fmla="*/ 484823 h 657225"/>
              <a:gd name="connsiteX79" fmla="*/ 445580 w 1523904"/>
              <a:gd name="connsiteY79" fmla="*/ 484823 h 657225"/>
              <a:gd name="connsiteX80" fmla="*/ 679513 w 1523904"/>
              <a:gd name="connsiteY80" fmla="*/ 484823 h 657225"/>
              <a:gd name="connsiteX81" fmla="*/ 691039 w 1523904"/>
              <a:gd name="connsiteY81" fmla="*/ 462629 h 657225"/>
              <a:gd name="connsiteX82" fmla="*/ 720185 w 1523904"/>
              <a:gd name="connsiteY82" fmla="*/ 453962 h 657225"/>
              <a:gd name="connsiteX83" fmla="*/ 735711 w 1523904"/>
              <a:gd name="connsiteY83" fmla="*/ 455486 h 657225"/>
              <a:gd name="connsiteX84" fmla="*/ 748570 w 1523904"/>
              <a:gd name="connsiteY84" fmla="*/ 460248 h 657225"/>
              <a:gd name="connsiteX85" fmla="*/ 757142 w 1523904"/>
              <a:gd name="connsiteY85" fmla="*/ 470059 h 657225"/>
              <a:gd name="connsiteX86" fmla="*/ 760381 w 1523904"/>
              <a:gd name="connsiteY86" fmla="*/ 484727 h 657225"/>
              <a:gd name="connsiteX87" fmla="*/ 779050 w 1523904"/>
              <a:gd name="connsiteY87" fmla="*/ 484727 h 657225"/>
              <a:gd name="connsiteX88" fmla="*/ 774097 w 1523904"/>
              <a:gd name="connsiteY88" fmla="*/ 462534 h 657225"/>
              <a:gd name="connsiteX89" fmla="*/ 760952 w 1523904"/>
              <a:gd name="connsiteY89" fmla="*/ 447389 h 657225"/>
              <a:gd name="connsiteX90" fmla="*/ 742760 w 1523904"/>
              <a:gd name="connsiteY90" fmla="*/ 440246 h 657225"/>
              <a:gd name="connsiteX91" fmla="*/ 722567 w 1523904"/>
              <a:gd name="connsiteY91" fmla="*/ 438150 h 657225"/>
              <a:gd name="connsiteX92" fmla="*/ 698183 w 1523904"/>
              <a:gd name="connsiteY92" fmla="*/ 441198 h 657225"/>
              <a:gd name="connsiteX93" fmla="*/ 678847 w 1523904"/>
              <a:gd name="connsiteY93" fmla="*/ 450437 h 657225"/>
              <a:gd name="connsiteX94" fmla="*/ 666083 w 1523904"/>
              <a:gd name="connsiteY94" fmla="*/ 466439 h 657225"/>
              <a:gd name="connsiteX95" fmla="*/ 660845 w 1523904"/>
              <a:gd name="connsiteY95" fmla="*/ 484727 h 657225"/>
              <a:gd name="connsiteX96" fmla="*/ 679513 w 1523904"/>
              <a:gd name="connsiteY96" fmla="*/ 484823 h 657225"/>
              <a:gd name="connsiteX97" fmla="*/ 827532 w 1523904"/>
              <a:gd name="connsiteY97" fmla="*/ 484823 h 657225"/>
              <a:gd name="connsiteX98" fmla="*/ 833533 w 1523904"/>
              <a:gd name="connsiteY98" fmla="*/ 473964 h 657225"/>
              <a:gd name="connsiteX99" fmla="*/ 849249 w 1523904"/>
              <a:gd name="connsiteY99" fmla="*/ 459676 h 657225"/>
              <a:gd name="connsiteX100" fmla="*/ 872109 w 1523904"/>
              <a:gd name="connsiteY100" fmla="*/ 453962 h 657225"/>
              <a:gd name="connsiteX101" fmla="*/ 894779 w 1523904"/>
              <a:gd name="connsiteY101" fmla="*/ 459676 h 657225"/>
              <a:gd name="connsiteX102" fmla="*/ 910209 w 1523904"/>
              <a:gd name="connsiteY102" fmla="*/ 474536 h 657225"/>
              <a:gd name="connsiteX103" fmla="*/ 915543 w 1523904"/>
              <a:gd name="connsiteY103" fmla="*/ 484823 h 657225"/>
              <a:gd name="connsiteX104" fmla="*/ 940213 w 1523904"/>
              <a:gd name="connsiteY104" fmla="*/ 484823 h 657225"/>
              <a:gd name="connsiteX105" fmla="*/ 940213 w 1523904"/>
              <a:gd name="connsiteY105" fmla="*/ 442722 h 657225"/>
              <a:gd name="connsiteX106" fmla="*/ 921449 w 1523904"/>
              <a:gd name="connsiteY106" fmla="*/ 442722 h 657225"/>
              <a:gd name="connsiteX107" fmla="*/ 921449 w 1523904"/>
              <a:gd name="connsiteY107" fmla="*/ 469201 h 657225"/>
              <a:gd name="connsiteX108" fmla="*/ 913067 w 1523904"/>
              <a:gd name="connsiteY108" fmla="*/ 457295 h 657225"/>
              <a:gd name="connsiteX109" fmla="*/ 902113 w 1523904"/>
              <a:gd name="connsiteY109" fmla="*/ 447485 h 657225"/>
              <a:gd name="connsiteX110" fmla="*/ 888206 w 1523904"/>
              <a:gd name="connsiteY110" fmla="*/ 440626 h 657225"/>
              <a:gd name="connsiteX111" fmla="*/ 872204 w 1523904"/>
              <a:gd name="connsiteY111" fmla="*/ 438150 h 657225"/>
              <a:gd name="connsiteX112" fmla="*/ 842486 w 1523904"/>
              <a:gd name="connsiteY112" fmla="*/ 444437 h 657225"/>
              <a:gd name="connsiteX113" fmla="*/ 820769 w 1523904"/>
              <a:gd name="connsiteY113" fmla="*/ 461105 h 657225"/>
              <a:gd name="connsiteX114" fmla="*/ 807720 w 1523904"/>
              <a:gd name="connsiteY114" fmla="*/ 484823 h 657225"/>
              <a:gd name="connsiteX115" fmla="*/ 827532 w 1523904"/>
              <a:gd name="connsiteY115" fmla="*/ 484823 h 657225"/>
              <a:gd name="connsiteX116" fmla="*/ 16288 w 1523904"/>
              <a:gd name="connsiteY116" fmla="*/ 484823 h 657225"/>
              <a:gd name="connsiteX117" fmla="*/ 16288 w 1523904"/>
              <a:gd name="connsiteY117" fmla="*/ 571119 h 657225"/>
              <a:gd name="connsiteX118" fmla="*/ 33528 w 1523904"/>
              <a:gd name="connsiteY118" fmla="*/ 571119 h 657225"/>
              <a:gd name="connsiteX119" fmla="*/ 33528 w 1523904"/>
              <a:gd name="connsiteY119" fmla="*/ 567214 h 657225"/>
              <a:gd name="connsiteX120" fmla="*/ 35528 w 1523904"/>
              <a:gd name="connsiteY120" fmla="*/ 571119 h 657225"/>
              <a:gd name="connsiteX121" fmla="*/ 52864 w 1523904"/>
              <a:gd name="connsiteY121" fmla="*/ 571119 h 657225"/>
              <a:gd name="connsiteX122" fmla="*/ 46958 w 1523904"/>
              <a:gd name="connsiteY122" fmla="*/ 564166 h 657225"/>
              <a:gd name="connsiteX123" fmla="*/ 37719 w 1523904"/>
              <a:gd name="connsiteY123" fmla="*/ 543306 h 657225"/>
              <a:gd name="connsiteX124" fmla="*/ 35052 w 1523904"/>
              <a:gd name="connsiteY124" fmla="*/ 519494 h 657225"/>
              <a:gd name="connsiteX125" fmla="*/ 37719 w 1523904"/>
              <a:gd name="connsiteY125" fmla="*/ 495967 h 657225"/>
              <a:gd name="connsiteX126" fmla="*/ 41529 w 1523904"/>
              <a:gd name="connsiteY126" fmla="*/ 484823 h 657225"/>
              <a:gd name="connsiteX127" fmla="*/ 16288 w 1523904"/>
              <a:gd name="connsiteY127" fmla="*/ 484823 h 657225"/>
              <a:gd name="connsiteX128" fmla="*/ 132683 w 1523904"/>
              <a:gd name="connsiteY128" fmla="*/ 484823 h 657225"/>
              <a:gd name="connsiteX129" fmla="*/ 136208 w 1523904"/>
              <a:gd name="connsiteY129" fmla="*/ 495967 h 657225"/>
              <a:gd name="connsiteX130" fmla="*/ 139256 w 1523904"/>
              <a:gd name="connsiteY130" fmla="*/ 519494 h 657225"/>
              <a:gd name="connsiteX131" fmla="*/ 136208 w 1523904"/>
              <a:gd name="connsiteY131" fmla="*/ 543306 h 657225"/>
              <a:gd name="connsiteX132" fmla="*/ 127349 w 1523904"/>
              <a:gd name="connsiteY132" fmla="*/ 564166 h 657225"/>
              <a:gd name="connsiteX133" fmla="*/ 121920 w 1523904"/>
              <a:gd name="connsiteY133" fmla="*/ 571119 h 657225"/>
              <a:gd name="connsiteX134" fmla="*/ 144971 w 1523904"/>
              <a:gd name="connsiteY134" fmla="*/ 571119 h 657225"/>
              <a:gd name="connsiteX135" fmla="*/ 153829 w 1523904"/>
              <a:gd name="connsiteY135" fmla="*/ 550831 h 657225"/>
              <a:gd name="connsiteX136" fmla="*/ 158020 w 1523904"/>
              <a:gd name="connsiteY136" fmla="*/ 519589 h 657225"/>
              <a:gd name="connsiteX137" fmla="*/ 153829 w 1523904"/>
              <a:gd name="connsiteY137" fmla="*/ 488728 h 657225"/>
              <a:gd name="connsiteX138" fmla="*/ 152686 w 1523904"/>
              <a:gd name="connsiteY138" fmla="*/ 485013 h 657225"/>
              <a:gd name="connsiteX139" fmla="*/ 132683 w 1523904"/>
              <a:gd name="connsiteY139" fmla="*/ 484823 h 657225"/>
              <a:gd name="connsiteX140" fmla="*/ 179737 w 1523904"/>
              <a:gd name="connsiteY140" fmla="*/ 484823 h 657225"/>
              <a:gd name="connsiteX141" fmla="*/ 179261 w 1523904"/>
              <a:gd name="connsiteY141" fmla="*/ 489775 h 657225"/>
              <a:gd name="connsiteX142" fmla="*/ 198025 w 1523904"/>
              <a:gd name="connsiteY142" fmla="*/ 489775 h 657225"/>
              <a:gd name="connsiteX143" fmla="*/ 198406 w 1523904"/>
              <a:gd name="connsiteY143" fmla="*/ 484823 h 657225"/>
              <a:gd name="connsiteX144" fmla="*/ 179737 w 1523904"/>
              <a:gd name="connsiteY144" fmla="*/ 484823 h 657225"/>
              <a:gd name="connsiteX145" fmla="*/ 279273 w 1523904"/>
              <a:gd name="connsiteY145" fmla="*/ 484823 h 657225"/>
              <a:gd name="connsiteX146" fmla="*/ 279273 w 1523904"/>
              <a:gd name="connsiteY146" fmla="*/ 485585 h 657225"/>
              <a:gd name="connsiteX147" fmla="*/ 277559 w 1523904"/>
              <a:gd name="connsiteY147" fmla="*/ 495681 h 657225"/>
              <a:gd name="connsiteX148" fmla="*/ 273082 w 1523904"/>
              <a:gd name="connsiteY148" fmla="*/ 501872 h 657225"/>
              <a:gd name="connsiteX149" fmla="*/ 265652 w 1523904"/>
              <a:gd name="connsiteY149" fmla="*/ 504920 h 657225"/>
              <a:gd name="connsiteX150" fmla="*/ 255175 w 1523904"/>
              <a:gd name="connsiteY150" fmla="*/ 506349 h 657225"/>
              <a:gd name="connsiteX151" fmla="*/ 225076 w 1523904"/>
              <a:gd name="connsiteY151" fmla="*/ 510254 h 657225"/>
              <a:gd name="connsiteX152" fmla="*/ 198692 w 1523904"/>
              <a:gd name="connsiteY152" fmla="*/ 516826 h 657225"/>
              <a:gd name="connsiteX153" fmla="*/ 179927 w 1523904"/>
              <a:gd name="connsiteY153" fmla="*/ 530828 h 657225"/>
              <a:gd name="connsiteX154" fmla="*/ 172784 w 1523904"/>
              <a:gd name="connsiteY154" fmla="*/ 555879 h 657225"/>
              <a:gd name="connsiteX155" fmla="*/ 174879 w 1523904"/>
              <a:gd name="connsiteY155" fmla="*/ 571119 h 657225"/>
              <a:gd name="connsiteX156" fmla="*/ 196501 w 1523904"/>
              <a:gd name="connsiteY156" fmla="*/ 571119 h 657225"/>
              <a:gd name="connsiteX157" fmla="*/ 194215 w 1523904"/>
              <a:gd name="connsiteY157" fmla="*/ 567500 h 657225"/>
              <a:gd name="connsiteX158" fmla="*/ 191548 w 1523904"/>
              <a:gd name="connsiteY158" fmla="*/ 554641 h 657225"/>
              <a:gd name="connsiteX159" fmla="*/ 198120 w 1523904"/>
              <a:gd name="connsiteY159" fmla="*/ 537401 h 657225"/>
              <a:gd name="connsiteX160" fmla="*/ 215360 w 1523904"/>
              <a:gd name="connsiteY160" fmla="*/ 527780 h 657225"/>
              <a:gd name="connsiteX161" fmla="*/ 238220 w 1523904"/>
              <a:gd name="connsiteY161" fmla="*/ 523018 h 657225"/>
              <a:gd name="connsiteX162" fmla="*/ 262890 w 1523904"/>
              <a:gd name="connsiteY162" fmla="*/ 519113 h 657225"/>
              <a:gd name="connsiteX163" fmla="*/ 271844 w 1523904"/>
              <a:gd name="connsiteY163" fmla="*/ 517017 h 657225"/>
              <a:gd name="connsiteX164" fmla="*/ 278702 w 1523904"/>
              <a:gd name="connsiteY164" fmla="*/ 512350 h 657225"/>
              <a:gd name="connsiteX165" fmla="*/ 279273 w 1523904"/>
              <a:gd name="connsiteY165" fmla="*/ 512350 h 657225"/>
              <a:gd name="connsiteX166" fmla="*/ 279273 w 1523904"/>
              <a:gd name="connsiteY166" fmla="*/ 536734 h 657225"/>
              <a:gd name="connsiteX167" fmla="*/ 274892 w 1523904"/>
              <a:gd name="connsiteY167" fmla="*/ 557022 h 657225"/>
              <a:gd name="connsiteX168" fmla="*/ 264605 w 1523904"/>
              <a:gd name="connsiteY168" fmla="*/ 571119 h 657225"/>
              <a:gd name="connsiteX169" fmla="*/ 279178 w 1523904"/>
              <a:gd name="connsiteY169" fmla="*/ 571119 h 657225"/>
              <a:gd name="connsiteX170" fmla="*/ 280226 w 1523904"/>
              <a:gd name="connsiteY170" fmla="*/ 569595 h 657225"/>
              <a:gd name="connsiteX171" fmla="*/ 280416 w 1523904"/>
              <a:gd name="connsiteY171" fmla="*/ 571119 h 657225"/>
              <a:gd name="connsiteX172" fmla="*/ 298037 w 1523904"/>
              <a:gd name="connsiteY172" fmla="*/ 571119 h 657225"/>
              <a:gd name="connsiteX173" fmla="*/ 297942 w 1523904"/>
              <a:gd name="connsiteY173" fmla="*/ 569309 h 657225"/>
              <a:gd name="connsiteX174" fmla="*/ 297942 w 1523904"/>
              <a:gd name="connsiteY174" fmla="*/ 487775 h 657225"/>
              <a:gd name="connsiteX175" fmla="*/ 297942 w 1523904"/>
              <a:gd name="connsiteY175" fmla="*/ 484918 h 657225"/>
              <a:gd name="connsiteX176" fmla="*/ 279273 w 1523904"/>
              <a:gd name="connsiteY176" fmla="*/ 484823 h 657225"/>
              <a:gd name="connsiteX177" fmla="*/ 332518 w 1523904"/>
              <a:gd name="connsiteY177" fmla="*/ 484823 h 657225"/>
              <a:gd name="connsiteX178" fmla="*/ 332518 w 1523904"/>
              <a:gd name="connsiteY178" fmla="*/ 571119 h 657225"/>
              <a:gd name="connsiteX179" fmla="*/ 351377 w 1523904"/>
              <a:gd name="connsiteY179" fmla="*/ 571119 h 657225"/>
              <a:gd name="connsiteX180" fmla="*/ 351377 w 1523904"/>
              <a:gd name="connsiteY180" fmla="*/ 514541 h 657225"/>
              <a:gd name="connsiteX181" fmla="*/ 355473 w 1523904"/>
              <a:gd name="connsiteY181" fmla="*/ 492157 h 657225"/>
              <a:gd name="connsiteX182" fmla="*/ 358997 w 1523904"/>
              <a:gd name="connsiteY182" fmla="*/ 484823 h 657225"/>
              <a:gd name="connsiteX183" fmla="*/ 332518 w 1523904"/>
              <a:gd name="connsiteY183" fmla="*/ 484823 h 657225"/>
              <a:gd name="connsiteX184" fmla="*/ 423291 w 1523904"/>
              <a:gd name="connsiteY184" fmla="*/ 484823 h 657225"/>
              <a:gd name="connsiteX185" fmla="*/ 423291 w 1523904"/>
              <a:gd name="connsiteY185" fmla="*/ 571119 h 657225"/>
              <a:gd name="connsiteX186" fmla="*/ 442055 w 1523904"/>
              <a:gd name="connsiteY186" fmla="*/ 571119 h 657225"/>
              <a:gd name="connsiteX187" fmla="*/ 442055 w 1523904"/>
              <a:gd name="connsiteY187" fmla="*/ 510540 h 657225"/>
              <a:gd name="connsiteX188" fmla="*/ 444722 w 1523904"/>
              <a:gd name="connsiteY188" fmla="*/ 488251 h 657225"/>
              <a:gd name="connsiteX189" fmla="*/ 445675 w 1523904"/>
              <a:gd name="connsiteY189" fmla="*/ 484823 h 657225"/>
              <a:gd name="connsiteX190" fmla="*/ 423291 w 1523904"/>
              <a:gd name="connsiteY190" fmla="*/ 484823 h 657225"/>
              <a:gd name="connsiteX191" fmla="*/ 423291 w 1523904"/>
              <a:gd name="connsiteY191" fmla="*/ 484823 h 657225"/>
              <a:gd name="connsiteX192" fmla="*/ 519494 w 1523904"/>
              <a:gd name="connsiteY192" fmla="*/ 484823 h 657225"/>
              <a:gd name="connsiteX193" fmla="*/ 519875 w 1523904"/>
              <a:gd name="connsiteY193" fmla="*/ 492157 h 657225"/>
              <a:gd name="connsiteX194" fmla="*/ 519875 w 1523904"/>
              <a:gd name="connsiteY194" fmla="*/ 571119 h 657225"/>
              <a:gd name="connsiteX195" fmla="*/ 538639 w 1523904"/>
              <a:gd name="connsiteY195" fmla="*/ 571119 h 657225"/>
              <a:gd name="connsiteX196" fmla="*/ 538639 w 1523904"/>
              <a:gd name="connsiteY196" fmla="*/ 509492 h 657225"/>
              <a:gd name="connsiteX197" fmla="*/ 540449 w 1523904"/>
              <a:gd name="connsiteY197" fmla="*/ 489014 h 657225"/>
              <a:gd name="connsiteX198" fmla="*/ 541401 w 1523904"/>
              <a:gd name="connsiteY198" fmla="*/ 485013 h 657225"/>
              <a:gd name="connsiteX199" fmla="*/ 519494 w 1523904"/>
              <a:gd name="connsiteY199" fmla="*/ 485013 h 657225"/>
              <a:gd name="connsiteX200" fmla="*/ 616268 w 1523904"/>
              <a:gd name="connsiteY200" fmla="*/ 484823 h 657225"/>
              <a:gd name="connsiteX201" fmla="*/ 616649 w 1523904"/>
              <a:gd name="connsiteY201" fmla="*/ 493014 h 657225"/>
              <a:gd name="connsiteX202" fmla="*/ 616649 w 1523904"/>
              <a:gd name="connsiteY202" fmla="*/ 571024 h 657225"/>
              <a:gd name="connsiteX203" fmla="*/ 635413 w 1523904"/>
              <a:gd name="connsiteY203" fmla="*/ 571024 h 657225"/>
              <a:gd name="connsiteX204" fmla="*/ 635413 w 1523904"/>
              <a:gd name="connsiteY204" fmla="*/ 492062 h 657225"/>
              <a:gd name="connsiteX205" fmla="*/ 635127 w 1523904"/>
              <a:gd name="connsiteY205" fmla="*/ 484727 h 657225"/>
              <a:gd name="connsiteX206" fmla="*/ 616268 w 1523904"/>
              <a:gd name="connsiteY206" fmla="*/ 484823 h 657225"/>
              <a:gd name="connsiteX207" fmla="*/ 616268 w 1523904"/>
              <a:gd name="connsiteY207" fmla="*/ 484823 h 657225"/>
              <a:gd name="connsiteX208" fmla="*/ 660940 w 1523904"/>
              <a:gd name="connsiteY208" fmla="*/ 484823 h 657225"/>
              <a:gd name="connsiteX209" fmla="*/ 660463 w 1523904"/>
              <a:gd name="connsiteY209" fmla="*/ 489775 h 657225"/>
              <a:gd name="connsiteX210" fmla="*/ 679228 w 1523904"/>
              <a:gd name="connsiteY210" fmla="*/ 489775 h 657225"/>
              <a:gd name="connsiteX211" fmla="*/ 679609 w 1523904"/>
              <a:gd name="connsiteY211" fmla="*/ 484823 h 657225"/>
              <a:gd name="connsiteX212" fmla="*/ 660940 w 1523904"/>
              <a:gd name="connsiteY212" fmla="*/ 484823 h 657225"/>
              <a:gd name="connsiteX213" fmla="*/ 760286 w 1523904"/>
              <a:gd name="connsiteY213" fmla="*/ 484823 h 657225"/>
              <a:gd name="connsiteX214" fmla="*/ 760286 w 1523904"/>
              <a:gd name="connsiteY214" fmla="*/ 485585 h 657225"/>
              <a:gd name="connsiteX215" fmla="*/ 758476 w 1523904"/>
              <a:gd name="connsiteY215" fmla="*/ 495681 h 657225"/>
              <a:gd name="connsiteX216" fmla="*/ 753999 w 1523904"/>
              <a:gd name="connsiteY216" fmla="*/ 501872 h 657225"/>
              <a:gd name="connsiteX217" fmla="*/ 746570 w 1523904"/>
              <a:gd name="connsiteY217" fmla="*/ 504920 h 657225"/>
              <a:gd name="connsiteX218" fmla="*/ 736187 w 1523904"/>
              <a:gd name="connsiteY218" fmla="*/ 506349 h 657225"/>
              <a:gd name="connsiteX219" fmla="*/ 706088 w 1523904"/>
              <a:gd name="connsiteY219" fmla="*/ 510254 h 657225"/>
              <a:gd name="connsiteX220" fmla="*/ 679704 w 1523904"/>
              <a:gd name="connsiteY220" fmla="*/ 516826 h 657225"/>
              <a:gd name="connsiteX221" fmla="*/ 660940 w 1523904"/>
              <a:gd name="connsiteY221" fmla="*/ 530828 h 657225"/>
              <a:gd name="connsiteX222" fmla="*/ 653796 w 1523904"/>
              <a:gd name="connsiteY222" fmla="*/ 555879 h 657225"/>
              <a:gd name="connsiteX223" fmla="*/ 655796 w 1523904"/>
              <a:gd name="connsiteY223" fmla="*/ 571119 h 657225"/>
              <a:gd name="connsiteX224" fmla="*/ 677513 w 1523904"/>
              <a:gd name="connsiteY224" fmla="*/ 571119 h 657225"/>
              <a:gd name="connsiteX225" fmla="*/ 675227 w 1523904"/>
              <a:gd name="connsiteY225" fmla="*/ 567500 h 657225"/>
              <a:gd name="connsiteX226" fmla="*/ 672560 w 1523904"/>
              <a:gd name="connsiteY226" fmla="*/ 554641 h 657225"/>
              <a:gd name="connsiteX227" fmla="*/ 679133 w 1523904"/>
              <a:gd name="connsiteY227" fmla="*/ 537401 h 657225"/>
              <a:gd name="connsiteX228" fmla="*/ 696373 w 1523904"/>
              <a:gd name="connsiteY228" fmla="*/ 527780 h 657225"/>
              <a:gd name="connsiteX229" fmla="*/ 719233 w 1523904"/>
              <a:gd name="connsiteY229" fmla="*/ 523018 h 657225"/>
              <a:gd name="connsiteX230" fmla="*/ 743903 w 1523904"/>
              <a:gd name="connsiteY230" fmla="*/ 519113 h 657225"/>
              <a:gd name="connsiteX231" fmla="*/ 752856 w 1523904"/>
              <a:gd name="connsiteY231" fmla="*/ 517017 h 657225"/>
              <a:gd name="connsiteX232" fmla="*/ 759714 w 1523904"/>
              <a:gd name="connsiteY232" fmla="*/ 512350 h 657225"/>
              <a:gd name="connsiteX233" fmla="*/ 760286 w 1523904"/>
              <a:gd name="connsiteY233" fmla="*/ 512350 h 657225"/>
              <a:gd name="connsiteX234" fmla="*/ 760286 w 1523904"/>
              <a:gd name="connsiteY234" fmla="*/ 536734 h 657225"/>
              <a:gd name="connsiteX235" fmla="*/ 755904 w 1523904"/>
              <a:gd name="connsiteY235" fmla="*/ 557022 h 657225"/>
              <a:gd name="connsiteX236" fmla="*/ 745522 w 1523904"/>
              <a:gd name="connsiteY236" fmla="*/ 571119 h 657225"/>
              <a:gd name="connsiteX237" fmla="*/ 760095 w 1523904"/>
              <a:gd name="connsiteY237" fmla="*/ 571119 h 657225"/>
              <a:gd name="connsiteX238" fmla="*/ 761238 w 1523904"/>
              <a:gd name="connsiteY238" fmla="*/ 569595 h 657225"/>
              <a:gd name="connsiteX239" fmla="*/ 761429 w 1523904"/>
              <a:gd name="connsiteY239" fmla="*/ 571119 h 657225"/>
              <a:gd name="connsiteX240" fmla="*/ 779145 w 1523904"/>
              <a:gd name="connsiteY240" fmla="*/ 571119 h 657225"/>
              <a:gd name="connsiteX241" fmla="*/ 779145 w 1523904"/>
              <a:gd name="connsiteY241" fmla="*/ 569309 h 657225"/>
              <a:gd name="connsiteX242" fmla="*/ 779145 w 1523904"/>
              <a:gd name="connsiteY242" fmla="*/ 487775 h 657225"/>
              <a:gd name="connsiteX243" fmla="*/ 779050 w 1523904"/>
              <a:gd name="connsiteY243" fmla="*/ 484918 h 657225"/>
              <a:gd name="connsiteX244" fmla="*/ 760286 w 1523904"/>
              <a:gd name="connsiteY244" fmla="*/ 484823 h 657225"/>
              <a:gd name="connsiteX245" fmla="*/ 807720 w 1523904"/>
              <a:gd name="connsiteY245" fmla="*/ 484823 h 657225"/>
              <a:gd name="connsiteX246" fmla="*/ 807434 w 1523904"/>
              <a:gd name="connsiteY246" fmla="*/ 485870 h 657225"/>
              <a:gd name="connsiteX247" fmla="*/ 802958 w 1523904"/>
              <a:gd name="connsiteY247" fmla="*/ 515684 h 657225"/>
              <a:gd name="connsiteX248" fmla="*/ 806768 w 1523904"/>
              <a:gd name="connsiteY248" fmla="*/ 546640 h 657225"/>
              <a:gd name="connsiteX249" fmla="*/ 818579 w 1523904"/>
              <a:gd name="connsiteY249" fmla="*/ 571119 h 657225"/>
              <a:gd name="connsiteX250" fmla="*/ 845439 w 1523904"/>
              <a:gd name="connsiteY250" fmla="*/ 571119 h 657225"/>
              <a:gd name="connsiteX251" fmla="*/ 833819 w 1523904"/>
              <a:gd name="connsiteY251" fmla="*/ 560070 h 657225"/>
              <a:gd name="connsiteX252" fmla="*/ 824675 w 1523904"/>
              <a:gd name="connsiteY252" fmla="*/ 540353 h 657225"/>
              <a:gd name="connsiteX253" fmla="*/ 821722 w 1523904"/>
              <a:gd name="connsiteY253" fmla="*/ 517779 h 657225"/>
              <a:gd name="connsiteX254" fmla="*/ 824294 w 1523904"/>
              <a:gd name="connsiteY254" fmla="*/ 494538 h 657225"/>
              <a:gd name="connsiteX255" fmla="*/ 827532 w 1523904"/>
              <a:gd name="connsiteY255" fmla="*/ 484823 h 657225"/>
              <a:gd name="connsiteX256" fmla="*/ 807720 w 1523904"/>
              <a:gd name="connsiteY256" fmla="*/ 484823 h 657225"/>
              <a:gd name="connsiteX257" fmla="*/ 915638 w 1523904"/>
              <a:gd name="connsiteY257" fmla="*/ 484823 h 657225"/>
              <a:gd name="connsiteX258" fmla="*/ 918877 w 1523904"/>
              <a:gd name="connsiteY258" fmla="*/ 495110 h 657225"/>
              <a:gd name="connsiteX259" fmla="*/ 921544 w 1523904"/>
              <a:gd name="connsiteY259" fmla="*/ 517779 h 657225"/>
              <a:gd name="connsiteX260" fmla="*/ 918210 w 1523904"/>
              <a:gd name="connsiteY260" fmla="*/ 540353 h 657225"/>
              <a:gd name="connsiteX261" fmla="*/ 908971 w 1523904"/>
              <a:gd name="connsiteY261" fmla="*/ 560070 h 657225"/>
              <a:gd name="connsiteX262" fmla="*/ 897541 w 1523904"/>
              <a:gd name="connsiteY262" fmla="*/ 571119 h 657225"/>
              <a:gd name="connsiteX263" fmla="*/ 916305 w 1523904"/>
              <a:gd name="connsiteY263" fmla="*/ 571119 h 657225"/>
              <a:gd name="connsiteX264" fmla="*/ 920877 w 1523904"/>
              <a:gd name="connsiteY264" fmla="*/ 563023 h 657225"/>
              <a:gd name="connsiteX265" fmla="*/ 921068 w 1523904"/>
              <a:gd name="connsiteY265" fmla="*/ 571119 h 657225"/>
              <a:gd name="connsiteX266" fmla="*/ 940118 w 1523904"/>
              <a:gd name="connsiteY266" fmla="*/ 571119 h 657225"/>
              <a:gd name="connsiteX267" fmla="*/ 940118 w 1523904"/>
              <a:gd name="connsiteY267" fmla="*/ 484823 h 657225"/>
              <a:gd name="connsiteX268" fmla="*/ 915638 w 1523904"/>
              <a:gd name="connsiteY268" fmla="*/ 484823 h 657225"/>
              <a:gd name="connsiteX269" fmla="*/ 915638 w 1523904"/>
              <a:gd name="connsiteY269" fmla="*/ 484823 h 657225"/>
              <a:gd name="connsiteX270" fmla="*/ 16288 w 1523904"/>
              <a:gd name="connsiteY270" fmla="*/ 596265 h 657225"/>
              <a:gd name="connsiteX271" fmla="*/ 33528 w 1523904"/>
              <a:gd name="connsiteY271" fmla="*/ 596265 h 657225"/>
              <a:gd name="connsiteX272" fmla="*/ 33528 w 1523904"/>
              <a:gd name="connsiteY272" fmla="*/ 571024 h 657225"/>
              <a:gd name="connsiteX273" fmla="*/ 16288 w 1523904"/>
              <a:gd name="connsiteY273" fmla="*/ 571024 h 657225"/>
              <a:gd name="connsiteX274" fmla="*/ 16288 w 1523904"/>
              <a:gd name="connsiteY274" fmla="*/ 596265 h 657225"/>
              <a:gd name="connsiteX275" fmla="*/ 35528 w 1523904"/>
              <a:gd name="connsiteY275" fmla="*/ 571024 h 657225"/>
              <a:gd name="connsiteX276" fmla="*/ 55245 w 1523904"/>
              <a:gd name="connsiteY276" fmla="*/ 591788 h 657225"/>
              <a:gd name="connsiteX277" fmla="*/ 88868 w 1523904"/>
              <a:gd name="connsiteY277" fmla="*/ 600456 h 657225"/>
              <a:gd name="connsiteX278" fmla="*/ 119253 w 1523904"/>
              <a:gd name="connsiteY278" fmla="*/ 594170 h 657225"/>
              <a:gd name="connsiteX279" fmla="*/ 140970 w 1523904"/>
              <a:gd name="connsiteY279" fmla="*/ 576644 h 657225"/>
              <a:gd name="connsiteX280" fmla="*/ 144875 w 1523904"/>
              <a:gd name="connsiteY280" fmla="*/ 571119 h 657225"/>
              <a:gd name="connsiteX281" fmla="*/ 121920 w 1523904"/>
              <a:gd name="connsiteY281" fmla="*/ 571119 h 657225"/>
              <a:gd name="connsiteX282" fmla="*/ 111824 w 1523904"/>
              <a:gd name="connsiteY282" fmla="*/ 579406 h 657225"/>
              <a:gd name="connsiteX283" fmla="*/ 88964 w 1523904"/>
              <a:gd name="connsiteY283" fmla="*/ 585121 h 657225"/>
              <a:gd name="connsiteX284" fmla="*/ 63722 w 1523904"/>
              <a:gd name="connsiteY284" fmla="*/ 579406 h 657225"/>
              <a:gd name="connsiteX285" fmla="*/ 52959 w 1523904"/>
              <a:gd name="connsiteY285" fmla="*/ 571214 h 657225"/>
              <a:gd name="connsiteX286" fmla="*/ 35528 w 1523904"/>
              <a:gd name="connsiteY286" fmla="*/ 571024 h 657225"/>
              <a:gd name="connsiteX287" fmla="*/ 174784 w 1523904"/>
              <a:gd name="connsiteY287" fmla="*/ 571024 h 657225"/>
              <a:gd name="connsiteX288" fmla="*/ 176594 w 1523904"/>
              <a:gd name="connsiteY288" fmla="*/ 576072 h 657225"/>
              <a:gd name="connsiteX289" fmla="*/ 187643 w 1523904"/>
              <a:gd name="connsiteY289" fmla="*/ 589979 h 657225"/>
              <a:gd name="connsiteX290" fmla="*/ 204026 w 1523904"/>
              <a:gd name="connsiteY290" fmla="*/ 597789 h 657225"/>
              <a:gd name="connsiteX291" fmla="*/ 224314 w 1523904"/>
              <a:gd name="connsiteY291" fmla="*/ 600456 h 657225"/>
              <a:gd name="connsiteX292" fmla="*/ 243554 w 1523904"/>
              <a:gd name="connsiteY292" fmla="*/ 598361 h 657225"/>
              <a:gd name="connsiteX293" fmla="*/ 258128 w 1523904"/>
              <a:gd name="connsiteY293" fmla="*/ 592360 h 657225"/>
              <a:gd name="connsiteX294" fmla="*/ 269653 w 1523904"/>
              <a:gd name="connsiteY294" fmla="*/ 582930 h 657225"/>
              <a:gd name="connsiteX295" fmla="*/ 279083 w 1523904"/>
              <a:gd name="connsiteY295" fmla="*/ 571024 h 657225"/>
              <a:gd name="connsiteX296" fmla="*/ 264509 w 1523904"/>
              <a:gd name="connsiteY296" fmla="*/ 571024 h 657225"/>
              <a:gd name="connsiteX297" fmla="*/ 263176 w 1523904"/>
              <a:gd name="connsiteY297" fmla="*/ 572167 h 657225"/>
              <a:gd name="connsiteX298" fmla="*/ 246221 w 1523904"/>
              <a:gd name="connsiteY298" fmla="*/ 581597 h 657225"/>
              <a:gd name="connsiteX299" fmla="*/ 225647 w 1523904"/>
              <a:gd name="connsiteY299" fmla="*/ 584930 h 657225"/>
              <a:gd name="connsiteX300" fmla="*/ 212884 w 1523904"/>
              <a:gd name="connsiteY300" fmla="*/ 582835 h 657225"/>
              <a:gd name="connsiteX301" fmla="*/ 201835 w 1523904"/>
              <a:gd name="connsiteY301" fmla="*/ 576834 h 657225"/>
              <a:gd name="connsiteX302" fmla="*/ 196406 w 1523904"/>
              <a:gd name="connsiteY302" fmla="*/ 570929 h 657225"/>
              <a:gd name="connsiteX303" fmla="*/ 174784 w 1523904"/>
              <a:gd name="connsiteY303" fmla="*/ 571024 h 657225"/>
              <a:gd name="connsiteX304" fmla="*/ 174784 w 1523904"/>
              <a:gd name="connsiteY304" fmla="*/ 571024 h 657225"/>
              <a:gd name="connsiteX305" fmla="*/ 280416 w 1523904"/>
              <a:gd name="connsiteY305" fmla="*/ 571024 h 657225"/>
              <a:gd name="connsiteX306" fmla="*/ 281369 w 1523904"/>
              <a:gd name="connsiteY306" fmla="*/ 580549 h 657225"/>
              <a:gd name="connsiteX307" fmla="*/ 284607 w 1523904"/>
              <a:gd name="connsiteY307" fmla="*/ 588836 h 657225"/>
              <a:gd name="connsiteX308" fmla="*/ 291179 w 1523904"/>
              <a:gd name="connsiteY308" fmla="*/ 594455 h 657225"/>
              <a:gd name="connsiteX309" fmla="*/ 302705 w 1523904"/>
              <a:gd name="connsiteY309" fmla="*/ 596265 h 657225"/>
              <a:gd name="connsiteX310" fmla="*/ 308991 w 1523904"/>
              <a:gd name="connsiteY310" fmla="*/ 595979 h 657225"/>
              <a:gd name="connsiteX311" fmla="*/ 314897 w 1523904"/>
              <a:gd name="connsiteY311" fmla="*/ 595122 h 657225"/>
              <a:gd name="connsiteX312" fmla="*/ 314897 w 1523904"/>
              <a:gd name="connsiteY312" fmla="*/ 579406 h 657225"/>
              <a:gd name="connsiteX313" fmla="*/ 308991 w 1523904"/>
              <a:gd name="connsiteY313" fmla="*/ 580644 h 657225"/>
              <a:gd name="connsiteX314" fmla="*/ 298037 w 1523904"/>
              <a:gd name="connsiteY314" fmla="*/ 571214 h 657225"/>
              <a:gd name="connsiteX315" fmla="*/ 280416 w 1523904"/>
              <a:gd name="connsiteY315" fmla="*/ 571024 h 657225"/>
              <a:gd name="connsiteX316" fmla="*/ 332518 w 1523904"/>
              <a:gd name="connsiteY316" fmla="*/ 596265 h 657225"/>
              <a:gd name="connsiteX317" fmla="*/ 351282 w 1523904"/>
              <a:gd name="connsiteY317" fmla="*/ 596265 h 657225"/>
              <a:gd name="connsiteX318" fmla="*/ 351282 w 1523904"/>
              <a:gd name="connsiteY318" fmla="*/ 571024 h 657225"/>
              <a:gd name="connsiteX319" fmla="*/ 332518 w 1523904"/>
              <a:gd name="connsiteY319" fmla="*/ 571024 h 657225"/>
              <a:gd name="connsiteX320" fmla="*/ 332518 w 1523904"/>
              <a:gd name="connsiteY320" fmla="*/ 596265 h 657225"/>
              <a:gd name="connsiteX321" fmla="*/ 423291 w 1523904"/>
              <a:gd name="connsiteY321" fmla="*/ 596265 h 657225"/>
              <a:gd name="connsiteX322" fmla="*/ 441960 w 1523904"/>
              <a:gd name="connsiteY322" fmla="*/ 596265 h 657225"/>
              <a:gd name="connsiteX323" fmla="*/ 441960 w 1523904"/>
              <a:gd name="connsiteY323" fmla="*/ 571024 h 657225"/>
              <a:gd name="connsiteX324" fmla="*/ 423291 w 1523904"/>
              <a:gd name="connsiteY324" fmla="*/ 571024 h 657225"/>
              <a:gd name="connsiteX325" fmla="*/ 423291 w 1523904"/>
              <a:gd name="connsiteY325" fmla="*/ 596265 h 657225"/>
              <a:gd name="connsiteX326" fmla="*/ 519875 w 1523904"/>
              <a:gd name="connsiteY326" fmla="*/ 596265 h 657225"/>
              <a:gd name="connsiteX327" fmla="*/ 538639 w 1523904"/>
              <a:gd name="connsiteY327" fmla="*/ 596265 h 657225"/>
              <a:gd name="connsiteX328" fmla="*/ 538639 w 1523904"/>
              <a:gd name="connsiteY328" fmla="*/ 571024 h 657225"/>
              <a:gd name="connsiteX329" fmla="*/ 519875 w 1523904"/>
              <a:gd name="connsiteY329" fmla="*/ 571024 h 657225"/>
              <a:gd name="connsiteX330" fmla="*/ 519875 w 1523904"/>
              <a:gd name="connsiteY330" fmla="*/ 596265 h 657225"/>
              <a:gd name="connsiteX331" fmla="*/ 616649 w 1523904"/>
              <a:gd name="connsiteY331" fmla="*/ 596265 h 657225"/>
              <a:gd name="connsiteX332" fmla="*/ 635413 w 1523904"/>
              <a:gd name="connsiteY332" fmla="*/ 596265 h 657225"/>
              <a:gd name="connsiteX333" fmla="*/ 635413 w 1523904"/>
              <a:gd name="connsiteY333" fmla="*/ 571024 h 657225"/>
              <a:gd name="connsiteX334" fmla="*/ 616649 w 1523904"/>
              <a:gd name="connsiteY334" fmla="*/ 571024 h 657225"/>
              <a:gd name="connsiteX335" fmla="*/ 616649 w 1523904"/>
              <a:gd name="connsiteY335" fmla="*/ 596265 h 657225"/>
              <a:gd name="connsiteX336" fmla="*/ 655892 w 1523904"/>
              <a:gd name="connsiteY336" fmla="*/ 571024 h 657225"/>
              <a:gd name="connsiteX337" fmla="*/ 657701 w 1523904"/>
              <a:gd name="connsiteY337" fmla="*/ 576072 h 657225"/>
              <a:gd name="connsiteX338" fmla="*/ 668750 w 1523904"/>
              <a:gd name="connsiteY338" fmla="*/ 589979 h 657225"/>
              <a:gd name="connsiteX339" fmla="*/ 685133 w 1523904"/>
              <a:gd name="connsiteY339" fmla="*/ 597789 h 657225"/>
              <a:gd name="connsiteX340" fmla="*/ 705231 w 1523904"/>
              <a:gd name="connsiteY340" fmla="*/ 600456 h 657225"/>
              <a:gd name="connsiteX341" fmla="*/ 724662 w 1523904"/>
              <a:gd name="connsiteY341" fmla="*/ 598361 h 657225"/>
              <a:gd name="connsiteX342" fmla="*/ 739331 w 1523904"/>
              <a:gd name="connsiteY342" fmla="*/ 592360 h 657225"/>
              <a:gd name="connsiteX343" fmla="*/ 750951 w 1523904"/>
              <a:gd name="connsiteY343" fmla="*/ 582930 h 657225"/>
              <a:gd name="connsiteX344" fmla="*/ 760190 w 1523904"/>
              <a:gd name="connsiteY344" fmla="*/ 571024 h 657225"/>
              <a:gd name="connsiteX345" fmla="*/ 745617 w 1523904"/>
              <a:gd name="connsiteY345" fmla="*/ 571024 h 657225"/>
              <a:gd name="connsiteX346" fmla="*/ 744379 w 1523904"/>
              <a:gd name="connsiteY346" fmla="*/ 572167 h 657225"/>
              <a:gd name="connsiteX347" fmla="*/ 727424 w 1523904"/>
              <a:gd name="connsiteY347" fmla="*/ 581597 h 657225"/>
              <a:gd name="connsiteX348" fmla="*/ 706946 w 1523904"/>
              <a:gd name="connsiteY348" fmla="*/ 584930 h 657225"/>
              <a:gd name="connsiteX349" fmla="*/ 694182 w 1523904"/>
              <a:gd name="connsiteY349" fmla="*/ 582835 h 657225"/>
              <a:gd name="connsiteX350" fmla="*/ 683133 w 1523904"/>
              <a:gd name="connsiteY350" fmla="*/ 576834 h 657225"/>
              <a:gd name="connsiteX351" fmla="*/ 677704 w 1523904"/>
              <a:gd name="connsiteY351" fmla="*/ 570929 h 657225"/>
              <a:gd name="connsiteX352" fmla="*/ 655892 w 1523904"/>
              <a:gd name="connsiteY352" fmla="*/ 571024 h 657225"/>
              <a:gd name="connsiteX353" fmla="*/ 655892 w 1523904"/>
              <a:gd name="connsiteY353" fmla="*/ 571024 h 657225"/>
              <a:gd name="connsiteX354" fmla="*/ 761429 w 1523904"/>
              <a:gd name="connsiteY354" fmla="*/ 571024 h 657225"/>
              <a:gd name="connsiteX355" fmla="*/ 762381 w 1523904"/>
              <a:gd name="connsiteY355" fmla="*/ 580549 h 657225"/>
              <a:gd name="connsiteX356" fmla="*/ 765620 w 1523904"/>
              <a:gd name="connsiteY356" fmla="*/ 588836 h 657225"/>
              <a:gd name="connsiteX357" fmla="*/ 772097 w 1523904"/>
              <a:gd name="connsiteY357" fmla="*/ 594455 h 657225"/>
              <a:gd name="connsiteX358" fmla="*/ 783717 w 1523904"/>
              <a:gd name="connsiteY358" fmla="*/ 596265 h 657225"/>
              <a:gd name="connsiteX359" fmla="*/ 790099 w 1523904"/>
              <a:gd name="connsiteY359" fmla="*/ 595979 h 657225"/>
              <a:gd name="connsiteX360" fmla="*/ 796004 w 1523904"/>
              <a:gd name="connsiteY360" fmla="*/ 595122 h 657225"/>
              <a:gd name="connsiteX361" fmla="*/ 796004 w 1523904"/>
              <a:gd name="connsiteY361" fmla="*/ 579406 h 657225"/>
              <a:gd name="connsiteX362" fmla="*/ 790099 w 1523904"/>
              <a:gd name="connsiteY362" fmla="*/ 580644 h 657225"/>
              <a:gd name="connsiteX363" fmla="*/ 779145 w 1523904"/>
              <a:gd name="connsiteY363" fmla="*/ 571214 h 657225"/>
              <a:gd name="connsiteX364" fmla="*/ 761429 w 1523904"/>
              <a:gd name="connsiteY364" fmla="*/ 571024 h 657225"/>
              <a:gd name="connsiteX365" fmla="*/ 818579 w 1523904"/>
              <a:gd name="connsiteY365" fmla="*/ 571024 h 657225"/>
              <a:gd name="connsiteX366" fmla="*/ 818960 w 1523904"/>
              <a:gd name="connsiteY366" fmla="*/ 571595 h 657225"/>
              <a:gd name="connsiteX367" fmla="*/ 840677 w 1523904"/>
              <a:gd name="connsiteY367" fmla="*/ 588550 h 657225"/>
              <a:gd name="connsiteX368" fmla="*/ 872204 w 1523904"/>
              <a:gd name="connsiteY368" fmla="*/ 594455 h 657225"/>
              <a:gd name="connsiteX369" fmla="*/ 901732 w 1523904"/>
              <a:gd name="connsiteY369" fmla="*/ 585883 h 657225"/>
              <a:gd name="connsiteX370" fmla="*/ 916496 w 1523904"/>
              <a:gd name="connsiteY370" fmla="*/ 571024 h 657225"/>
              <a:gd name="connsiteX371" fmla="*/ 897731 w 1523904"/>
              <a:gd name="connsiteY371" fmla="*/ 571024 h 657225"/>
              <a:gd name="connsiteX372" fmla="*/ 893636 w 1523904"/>
              <a:gd name="connsiteY372" fmla="*/ 573596 h 657225"/>
              <a:gd name="connsiteX373" fmla="*/ 872204 w 1523904"/>
              <a:gd name="connsiteY373" fmla="*/ 578644 h 657225"/>
              <a:gd name="connsiteX374" fmla="*/ 849535 w 1523904"/>
              <a:gd name="connsiteY374" fmla="*/ 573596 h 657225"/>
              <a:gd name="connsiteX375" fmla="*/ 845439 w 1523904"/>
              <a:gd name="connsiteY375" fmla="*/ 571024 h 657225"/>
              <a:gd name="connsiteX376" fmla="*/ 818579 w 1523904"/>
              <a:gd name="connsiteY376" fmla="*/ 571024 h 657225"/>
              <a:gd name="connsiteX377" fmla="*/ 921258 w 1523904"/>
              <a:gd name="connsiteY377" fmla="*/ 571024 h 657225"/>
              <a:gd name="connsiteX378" fmla="*/ 921639 w 1523904"/>
              <a:gd name="connsiteY378" fmla="*/ 583787 h 657225"/>
              <a:gd name="connsiteX379" fmla="*/ 916877 w 1523904"/>
              <a:gd name="connsiteY379" fmla="*/ 614267 h 657225"/>
              <a:gd name="connsiteX380" fmla="*/ 936498 w 1523904"/>
              <a:gd name="connsiteY380" fmla="*/ 614267 h 657225"/>
              <a:gd name="connsiteX381" fmla="*/ 940308 w 1523904"/>
              <a:gd name="connsiteY381" fmla="*/ 583883 h 657225"/>
              <a:gd name="connsiteX382" fmla="*/ 940308 w 1523904"/>
              <a:gd name="connsiteY382" fmla="*/ 571119 h 657225"/>
              <a:gd name="connsiteX383" fmla="*/ 921258 w 1523904"/>
              <a:gd name="connsiteY383" fmla="*/ 571024 h 657225"/>
              <a:gd name="connsiteX384" fmla="*/ 828008 w 1523904"/>
              <a:gd name="connsiteY384" fmla="*/ 614172 h 657225"/>
              <a:gd name="connsiteX385" fmla="*/ 827342 w 1523904"/>
              <a:gd name="connsiteY385" fmla="*/ 610838 h 657225"/>
              <a:gd name="connsiteX386" fmla="*/ 808577 w 1523904"/>
              <a:gd name="connsiteY386" fmla="*/ 610838 h 657225"/>
              <a:gd name="connsiteX387" fmla="*/ 808958 w 1523904"/>
              <a:gd name="connsiteY387" fmla="*/ 614172 h 657225"/>
              <a:gd name="connsiteX388" fmla="*/ 828008 w 1523904"/>
              <a:gd name="connsiteY388" fmla="*/ 614172 h 657225"/>
              <a:gd name="connsiteX389" fmla="*/ 808863 w 1523904"/>
              <a:gd name="connsiteY389" fmla="*/ 614172 h 657225"/>
              <a:gd name="connsiteX390" fmla="*/ 815054 w 1523904"/>
              <a:gd name="connsiteY390" fmla="*/ 631698 h 657225"/>
              <a:gd name="connsiteX391" fmla="*/ 829628 w 1523904"/>
              <a:gd name="connsiteY391" fmla="*/ 646271 h 657225"/>
              <a:gd name="connsiteX392" fmla="*/ 849630 w 1523904"/>
              <a:gd name="connsiteY392" fmla="*/ 654558 h 657225"/>
              <a:gd name="connsiteX393" fmla="*/ 872204 w 1523904"/>
              <a:gd name="connsiteY393" fmla="*/ 657225 h 657225"/>
              <a:gd name="connsiteX394" fmla="*/ 903732 w 1523904"/>
              <a:gd name="connsiteY394" fmla="*/ 652177 h 657225"/>
              <a:gd name="connsiteX395" fmla="*/ 924878 w 1523904"/>
              <a:gd name="connsiteY395" fmla="*/ 637604 h 657225"/>
              <a:gd name="connsiteX396" fmla="*/ 936498 w 1523904"/>
              <a:gd name="connsiteY396" fmla="*/ 614363 h 657225"/>
              <a:gd name="connsiteX397" fmla="*/ 936498 w 1523904"/>
              <a:gd name="connsiteY397" fmla="*/ 614077 h 657225"/>
              <a:gd name="connsiteX398" fmla="*/ 916781 w 1523904"/>
              <a:gd name="connsiteY398" fmla="*/ 614077 h 657225"/>
              <a:gd name="connsiteX399" fmla="*/ 909923 w 1523904"/>
              <a:gd name="connsiteY399" fmla="*/ 626555 h 657225"/>
              <a:gd name="connsiteX400" fmla="*/ 872204 w 1523904"/>
              <a:gd name="connsiteY400" fmla="*/ 641413 h 657225"/>
              <a:gd name="connsiteX401" fmla="*/ 857060 w 1523904"/>
              <a:gd name="connsiteY401" fmla="*/ 639604 h 657225"/>
              <a:gd name="connsiteX402" fmla="*/ 843344 w 1523904"/>
              <a:gd name="connsiteY402" fmla="*/ 634556 h 657225"/>
              <a:gd name="connsiteX403" fmla="*/ 832961 w 1523904"/>
              <a:gd name="connsiteY403" fmla="*/ 625031 h 657225"/>
              <a:gd name="connsiteX404" fmla="*/ 828008 w 1523904"/>
              <a:gd name="connsiteY404" fmla="*/ 614077 h 657225"/>
              <a:gd name="connsiteX405" fmla="*/ 808863 w 1523904"/>
              <a:gd name="connsiteY405" fmla="*/ 614172 h 657225"/>
              <a:gd name="connsiteX406" fmla="*/ 808863 w 1523904"/>
              <a:gd name="connsiteY406" fmla="*/ 614172 h 657225"/>
              <a:gd name="connsiteX407" fmla="*/ 1448181 w 1523904"/>
              <a:gd name="connsiteY407" fmla="*/ 318897 h 657225"/>
              <a:gd name="connsiteX408" fmla="*/ 1448181 w 1523904"/>
              <a:gd name="connsiteY408" fmla="*/ 182785 h 657225"/>
              <a:gd name="connsiteX409" fmla="*/ 1415225 w 1523904"/>
              <a:gd name="connsiteY409" fmla="*/ 141827 h 657225"/>
              <a:gd name="connsiteX410" fmla="*/ 1375601 w 1523904"/>
              <a:gd name="connsiteY410" fmla="*/ 188500 h 657225"/>
              <a:gd name="connsiteX411" fmla="*/ 1375601 w 1523904"/>
              <a:gd name="connsiteY411" fmla="*/ 318802 h 657225"/>
              <a:gd name="connsiteX412" fmla="*/ 1301210 w 1523904"/>
              <a:gd name="connsiteY412" fmla="*/ 318802 h 657225"/>
              <a:gd name="connsiteX413" fmla="*/ 1301210 w 1523904"/>
              <a:gd name="connsiteY413" fmla="*/ 88106 h 657225"/>
              <a:gd name="connsiteX414" fmla="*/ 1372934 w 1523904"/>
              <a:gd name="connsiteY414" fmla="*/ 88106 h 657225"/>
              <a:gd name="connsiteX415" fmla="*/ 1372934 w 1523904"/>
              <a:gd name="connsiteY415" fmla="*/ 123349 h 657225"/>
              <a:gd name="connsiteX416" fmla="*/ 1373696 w 1523904"/>
              <a:gd name="connsiteY416" fmla="*/ 123349 h 657225"/>
              <a:gd name="connsiteX417" fmla="*/ 1442466 w 1523904"/>
              <a:gd name="connsiteY417" fmla="*/ 81439 h 657225"/>
              <a:gd name="connsiteX418" fmla="*/ 1523905 w 1523904"/>
              <a:gd name="connsiteY418" fmla="*/ 170021 h 657225"/>
              <a:gd name="connsiteX419" fmla="*/ 1523905 w 1523904"/>
              <a:gd name="connsiteY419" fmla="*/ 318802 h 657225"/>
              <a:gd name="connsiteX420" fmla="*/ 1448181 w 1523904"/>
              <a:gd name="connsiteY420" fmla="*/ 318802 h 657225"/>
              <a:gd name="connsiteX421" fmla="*/ 963263 w 1523904"/>
              <a:gd name="connsiteY421" fmla="*/ 318897 h 657225"/>
              <a:gd name="connsiteX422" fmla="*/ 1051370 w 1523904"/>
              <a:gd name="connsiteY422" fmla="*/ 318897 h 657225"/>
              <a:gd name="connsiteX423" fmla="*/ 967264 w 1523904"/>
              <a:gd name="connsiteY423" fmla="*/ 174498 h 657225"/>
              <a:gd name="connsiteX424" fmla="*/ 1048703 w 1523904"/>
              <a:gd name="connsiteY424" fmla="*/ 88202 h 657225"/>
              <a:gd name="connsiteX425" fmla="*/ 956691 w 1523904"/>
              <a:gd name="connsiteY425" fmla="*/ 88202 h 657225"/>
              <a:gd name="connsiteX426" fmla="*/ 889826 w 1523904"/>
              <a:gd name="connsiteY426" fmla="*/ 171450 h 657225"/>
              <a:gd name="connsiteX427" fmla="*/ 889826 w 1523904"/>
              <a:gd name="connsiteY427" fmla="*/ 0 h 657225"/>
              <a:gd name="connsiteX428" fmla="*/ 816293 w 1523904"/>
              <a:gd name="connsiteY428" fmla="*/ 0 h 657225"/>
              <a:gd name="connsiteX429" fmla="*/ 816293 w 1523904"/>
              <a:gd name="connsiteY429" fmla="*/ 318897 h 657225"/>
              <a:gd name="connsiteX430" fmla="*/ 889826 w 1523904"/>
              <a:gd name="connsiteY430" fmla="*/ 318897 h 657225"/>
              <a:gd name="connsiteX431" fmla="*/ 889826 w 1523904"/>
              <a:gd name="connsiteY431" fmla="*/ 255461 h 657225"/>
              <a:gd name="connsiteX432" fmla="*/ 915829 w 1523904"/>
              <a:gd name="connsiteY432" fmla="*/ 226886 h 657225"/>
              <a:gd name="connsiteX433" fmla="*/ 963263 w 1523904"/>
              <a:gd name="connsiteY433" fmla="*/ 318897 h 657225"/>
              <a:gd name="connsiteX434" fmla="*/ 1205770 w 1523904"/>
              <a:gd name="connsiteY434" fmla="*/ 203549 h 657225"/>
              <a:gd name="connsiteX435" fmla="*/ 1158145 w 1523904"/>
              <a:gd name="connsiteY435" fmla="*/ 266510 h 657225"/>
              <a:gd name="connsiteX436" fmla="*/ 1110615 w 1523904"/>
              <a:gd name="connsiteY436" fmla="*/ 203549 h 657225"/>
              <a:gd name="connsiteX437" fmla="*/ 1158145 w 1523904"/>
              <a:gd name="connsiteY437" fmla="*/ 140589 h 657225"/>
              <a:gd name="connsiteX438" fmla="*/ 1205770 w 1523904"/>
              <a:gd name="connsiteY438" fmla="*/ 203549 h 657225"/>
              <a:gd name="connsiteX439" fmla="*/ 1033177 w 1523904"/>
              <a:gd name="connsiteY439" fmla="*/ 203549 h 657225"/>
              <a:gd name="connsiteX440" fmla="*/ 1158145 w 1523904"/>
              <a:gd name="connsiteY440" fmla="*/ 325565 h 657225"/>
              <a:gd name="connsiteX441" fmla="*/ 1283208 w 1523904"/>
              <a:gd name="connsiteY441" fmla="*/ 203549 h 657225"/>
              <a:gd name="connsiteX442" fmla="*/ 1158145 w 1523904"/>
              <a:gd name="connsiteY442" fmla="*/ 81534 h 657225"/>
              <a:gd name="connsiteX443" fmla="*/ 1033177 w 1523904"/>
              <a:gd name="connsiteY443" fmla="*/ 203549 h 657225"/>
              <a:gd name="connsiteX444" fmla="*/ 605790 w 1523904"/>
              <a:gd name="connsiteY444" fmla="*/ 318897 h 657225"/>
              <a:gd name="connsiteX445" fmla="*/ 681990 w 1523904"/>
              <a:gd name="connsiteY445" fmla="*/ 318897 h 657225"/>
              <a:gd name="connsiteX446" fmla="*/ 681990 w 1523904"/>
              <a:gd name="connsiteY446" fmla="*/ 0 h 657225"/>
              <a:gd name="connsiteX447" fmla="*/ 605790 w 1523904"/>
              <a:gd name="connsiteY447" fmla="*/ 0 h 657225"/>
              <a:gd name="connsiteX448" fmla="*/ 605790 w 1523904"/>
              <a:gd name="connsiteY448" fmla="*/ 318897 h 657225"/>
              <a:gd name="connsiteX449" fmla="*/ 434816 w 1523904"/>
              <a:gd name="connsiteY449" fmla="*/ 318897 h 657225"/>
              <a:gd name="connsiteX450" fmla="*/ 511397 w 1523904"/>
              <a:gd name="connsiteY450" fmla="*/ 318897 h 657225"/>
              <a:gd name="connsiteX451" fmla="*/ 511397 w 1523904"/>
              <a:gd name="connsiteY451" fmla="*/ 217170 h 657225"/>
              <a:gd name="connsiteX452" fmla="*/ 564261 w 1523904"/>
              <a:gd name="connsiteY452" fmla="*/ 155543 h 657225"/>
              <a:gd name="connsiteX453" fmla="*/ 588931 w 1523904"/>
              <a:gd name="connsiteY453" fmla="*/ 157353 h 657225"/>
              <a:gd name="connsiteX454" fmla="*/ 588931 w 1523904"/>
              <a:gd name="connsiteY454" fmla="*/ 82868 h 657225"/>
              <a:gd name="connsiteX455" fmla="*/ 572262 w 1523904"/>
              <a:gd name="connsiteY455" fmla="*/ 81534 h 657225"/>
              <a:gd name="connsiteX456" fmla="*/ 509683 w 1523904"/>
              <a:gd name="connsiteY456" fmla="*/ 127349 h 657225"/>
              <a:gd name="connsiteX457" fmla="*/ 508825 w 1523904"/>
              <a:gd name="connsiteY457" fmla="*/ 127349 h 657225"/>
              <a:gd name="connsiteX458" fmla="*/ 508825 w 1523904"/>
              <a:gd name="connsiteY458" fmla="*/ 88106 h 657225"/>
              <a:gd name="connsiteX459" fmla="*/ 434912 w 1523904"/>
              <a:gd name="connsiteY459" fmla="*/ 88106 h 657225"/>
              <a:gd name="connsiteX460" fmla="*/ 434912 w 1523904"/>
              <a:gd name="connsiteY460" fmla="*/ 318897 h 657225"/>
              <a:gd name="connsiteX461" fmla="*/ 711041 w 1523904"/>
              <a:gd name="connsiteY461" fmla="*/ 318897 h 657225"/>
              <a:gd name="connsiteX462" fmla="*/ 787241 w 1523904"/>
              <a:gd name="connsiteY462" fmla="*/ 318897 h 657225"/>
              <a:gd name="connsiteX463" fmla="*/ 787241 w 1523904"/>
              <a:gd name="connsiteY463" fmla="*/ 88106 h 657225"/>
              <a:gd name="connsiteX464" fmla="*/ 711041 w 1523904"/>
              <a:gd name="connsiteY464" fmla="*/ 88106 h 657225"/>
              <a:gd name="connsiteX465" fmla="*/ 711041 w 1523904"/>
              <a:gd name="connsiteY465" fmla="*/ 318897 h 657225"/>
              <a:gd name="connsiteX466" fmla="*/ 711041 w 1523904"/>
              <a:gd name="connsiteY466" fmla="*/ 59912 h 657225"/>
              <a:gd name="connsiteX467" fmla="*/ 787241 w 1523904"/>
              <a:gd name="connsiteY467" fmla="*/ 59912 h 657225"/>
              <a:gd name="connsiteX468" fmla="*/ 787241 w 1523904"/>
              <a:gd name="connsiteY468" fmla="*/ 0 h 657225"/>
              <a:gd name="connsiteX469" fmla="*/ 711041 w 1523904"/>
              <a:gd name="connsiteY469" fmla="*/ 0 h 657225"/>
              <a:gd name="connsiteX470" fmla="*/ 711041 w 1523904"/>
              <a:gd name="connsiteY470" fmla="*/ 59912 h 657225"/>
              <a:gd name="connsiteX471" fmla="*/ 169069 w 1523904"/>
              <a:gd name="connsiteY471" fmla="*/ 203549 h 657225"/>
              <a:gd name="connsiteX472" fmla="*/ 123253 w 1523904"/>
              <a:gd name="connsiteY472" fmla="*/ 266510 h 657225"/>
              <a:gd name="connsiteX473" fmla="*/ 77438 w 1523904"/>
              <a:gd name="connsiteY473" fmla="*/ 203549 h 657225"/>
              <a:gd name="connsiteX474" fmla="*/ 123253 w 1523904"/>
              <a:gd name="connsiteY474" fmla="*/ 140589 h 657225"/>
              <a:gd name="connsiteX475" fmla="*/ 169069 w 1523904"/>
              <a:gd name="connsiteY475" fmla="*/ 203549 h 657225"/>
              <a:gd name="connsiteX476" fmla="*/ 207836 w 1523904"/>
              <a:gd name="connsiteY476" fmla="*/ 295085 h 657225"/>
              <a:gd name="connsiteX477" fmla="*/ 293656 w 1523904"/>
              <a:gd name="connsiteY477" fmla="*/ 325565 h 657225"/>
              <a:gd name="connsiteX478" fmla="*/ 414338 w 1523904"/>
              <a:gd name="connsiteY478" fmla="*/ 247174 h 657225"/>
              <a:gd name="connsiteX479" fmla="*/ 339566 w 1523904"/>
              <a:gd name="connsiteY479" fmla="*/ 247174 h 657225"/>
              <a:gd name="connsiteX480" fmla="*/ 296799 w 1523904"/>
              <a:gd name="connsiteY480" fmla="*/ 270986 h 657225"/>
              <a:gd name="connsiteX481" fmla="*/ 247936 w 1523904"/>
              <a:gd name="connsiteY481" fmla="*/ 223933 h 657225"/>
              <a:gd name="connsiteX482" fmla="*/ 415671 w 1523904"/>
              <a:gd name="connsiteY482" fmla="*/ 223933 h 657225"/>
              <a:gd name="connsiteX483" fmla="*/ 416147 w 1523904"/>
              <a:gd name="connsiteY483" fmla="*/ 212503 h 657225"/>
              <a:gd name="connsiteX484" fmla="*/ 293751 w 1523904"/>
              <a:gd name="connsiteY484" fmla="*/ 81629 h 657225"/>
              <a:gd name="connsiteX485" fmla="*/ 207931 w 1523904"/>
              <a:gd name="connsiteY485" fmla="*/ 112014 h 657225"/>
              <a:gd name="connsiteX486" fmla="*/ 123444 w 1523904"/>
              <a:gd name="connsiteY486" fmla="*/ 81629 h 657225"/>
              <a:gd name="connsiteX487" fmla="*/ 0 w 1523904"/>
              <a:gd name="connsiteY487" fmla="*/ 203549 h 657225"/>
              <a:gd name="connsiteX488" fmla="*/ 123253 w 1523904"/>
              <a:gd name="connsiteY488" fmla="*/ 325565 h 657225"/>
              <a:gd name="connsiteX489" fmla="*/ 207836 w 1523904"/>
              <a:gd name="connsiteY489" fmla="*/ 295085 h 657225"/>
              <a:gd name="connsiteX490" fmla="*/ 247841 w 1523904"/>
              <a:gd name="connsiteY490" fmla="*/ 177070 h 657225"/>
              <a:gd name="connsiteX491" fmla="*/ 293656 w 1523904"/>
              <a:gd name="connsiteY491" fmla="*/ 133445 h 657225"/>
              <a:gd name="connsiteX492" fmla="*/ 338995 w 1523904"/>
              <a:gd name="connsiteY492" fmla="*/ 177070 h 657225"/>
              <a:gd name="connsiteX493" fmla="*/ 247841 w 1523904"/>
              <a:gd name="connsiteY493" fmla="*/ 177070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Lst>
            <a:rect l="l" t="t" r="r" b="b"/>
            <a:pathLst>
              <a:path w="1523904" h="657225">
                <a:moveTo>
                  <a:pt x="35147" y="398621"/>
                </a:moveTo>
                <a:lnTo>
                  <a:pt x="35052" y="383762"/>
                </a:lnTo>
                <a:lnTo>
                  <a:pt x="16288" y="383762"/>
                </a:lnTo>
                <a:lnTo>
                  <a:pt x="16288" y="398621"/>
                </a:lnTo>
                <a:lnTo>
                  <a:pt x="35147" y="398621"/>
                </a:lnTo>
                <a:close/>
                <a:moveTo>
                  <a:pt x="16288" y="398621"/>
                </a:moveTo>
                <a:lnTo>
                  <a:pt x="16288" y="484823"/>
                </a:lnTo>
                <a:lnTo>
                  <a:pt x="41529" y="484823"/>
                </a:lnTo>
                <a:cubicBezTo>
                  <a:pt x="43053" y="481298"/>
                  <a:pt x="44863" y="477965"/>
                  <a:pt x="47054" y="474821"/>
                </a:cubicBezTo>
                <a:cubicBezTo>
                  <a:pt x="51340" y="468725"/>
                  <a:pt x="56864" y="463772"/>
                  <a:pt x="63627" y="459962"/>
                </a:cubicBezTo>
                <a:cubicBezTo>
                  <a:pt x="70580" y="455962"/>
                  <a:pt x="78962" y="453962"/>
                  <a:pt x="88964" y="453962"/>
                </a:cubicBezTo>
                <a:cubicBezTo>
                  <a:pt x="97822" y="453962"/>
                  <a:pt x="105537" y="455962"/>
                  <a:pt x="111824" y="459962"/>
                </a:cubicBezTo>
                <a:cubicBezTo>
                  <a:pt x="118205" y="463772"/>
                  <a:pt x="123253" y="468725"/>
                  <a:pt x="127254" y="474821"/>
                </a:cubicBezTo>
                <a:cubicBezTo>
                  <a:pt x="129350" y="477965"/>
                  <a:pt x="131159" y="481298"/>
                  <a:pt x="132588" y="484823"/>
                </a:cubicBezTo>
                <a:lnTo>
                  <a:pt x="152495" y="484823"/>
                </a:lnTo>
                <a:cubicBezTo>
                  <a:pt x="149733" y="476536"/>
                  <a:pt x="145923" y="469106"/>
                  <a:pt x="140875" y="462629"/>
                </a:cubicBezTo>
                <a:cubicBezTo>
                  <a:pt x="135160" y="455105"/>
                  <a:pt x="127921" y="449104"/>
                  <a:pt x="119158" y="444722"/>
                </a:cubicBezTo>
                <a:cubicBezTo>
                  <a:pt x="110681" y="440436"/>
                  <a:pt x="100584" y="438150"/>
                  <a:pt x="88868" y="438150"/>
                </a:cubicBezTo>
                <a:cubicBezTo>
                  <a:pt x="83344" y="438150"/>
                  <a:pt x="77819" y="438912"/>
                  <a:pt x="72200" y="440246"/>
                </a:cubicBezTo>
                <a:cubicBezTo>
                  <a:pt x="66675" y="441770"/>
                  <a:pt x="61532" y="443865"/>
                  <a:pt x="56769" y="446818"/>
                </a:cubicBezTo>
                <a:cubicBezTo>
                  <a:pt x="52007" y="449675"/>
                  <a:pt x="47720" y="453104"/>
                  <a:pt x="44006" y="457295"/>
                </a:cubicBezTo>
                <a:cubicBezTo>
                  <a:pt x="40386" y="461486"/>
                  <a:pt x="37624" y="466344"/>
                  <a:pt x="35624" y="471869"/>
                </a:cubicBezTo>
                <a:lnTo>
                  <a:pt x="35147" y="398621"/>
                </a:lnTo>
                <a:lnTo>
                  <a:pt x="16288" y="398621"/>
                </a:lnTo>
                <a:lnTo>
                  <a:pt x="16288" y="398621"/>
                </a:lnTo>
                <a:close/>
                <a:moveTo>
                  <a:pt x="198406" y="484823"/>
                </a:moveTo>
                <a:cubicBezTo>
                  <a:pt x="199644" y="474821"/>
                  <a:pt x="203454" y="467487"/>
                  <a:pt x="209931" y="462629"/>
                </a:cubicBezTo>
                <a:cubicBezTo>
                  <a:pt x="217551" y="456914"/>
                  <a:pt x="227171" y="453962"/>
                  <a:pt x="239173" y="453962"/>
                </a:cubicBezTo>
                <a:cubicBezTo>
                  <a:pt x="244697" y="453962"/>
                  <a:pt x="249841" y="454438"/>
                  <a:pt x="254603" y="455486"/>
                </a:cubicBezTo>
                <a:cubicBezTo>
                  <a:pt x="259556" y="456343"/>
                  <a:pt x="263843" y="457867"/>
                  <a:pt x="267367" y="460248"/>
                </a:cubicBezTo>
                <a:cubicBezTo>
                  <a:pt x="271082" y="462629"/>
                  <a:pt x="274034" y="465963"/>
                  <a:pt x="276035" y="470059"/>
                </a:cubicBezTo>
                <a:cubicBezTo>
                  <a:pt x="278130" y="473869"/>
                  <a:pt x="279178" y="478822"/>
                  <a:pt x="279273" y="484727"/>
                </a:cubicBezTo>
                <a:lnTo>
                  <a:pt x="298037" y="484727"/>
                </a:lnTo>
                <a:cubicBezTo>
                  <a:pt x="297752" y="475774"/>
                  <a:pt x="296132" y="468344"/>
                  <a:pt x="292989" y="462534"/>
                </a:cubicBezTo>
                <a:cubicBezTo>
                  <a:pt x="289655" y="455962"/>
                  <a:pt x="285274" y="450914"/>
                  <a:pt x="279940" y="447389"/>
                </a:cubicBezTo>
                <a:cubicBezTo>
                  <a:pt x="274511" y="443770"/>
                  <a:pt x="268510" y="441484"/>
                  <a:pt x="261747" y="440246"/>
                </a:cubicBezTo>
                <a:cubicBezTo>
                  <a:pt x="255080" y="438912"/>
                  <a:pt x="248317" y="438150"/>
                  <a:pt x="241554" y="438150"/>
                </a:cubicBezTo>
                <a:cubicBezTo>
                  <a:pt x="232601" y="438150"/>
                  <a:pt x="224504" y="439103"/>
                  <a:pt x="217075" y="441198"/>
                </a:cubicBezTo>
                <a:cubicBezTo>
                  <a:pt x="209741" y="443198"/>
                  <a:pt x="203359" y="446246"/>
                  <a:pt x="197739" y="450437"/>
                </a:cubicBezTo>
                <a:cubicBezTo>
                  <a:pt x="192310" y="454628"/>
                  <a:pt x="188119" y="459962"/>
                  <a:pt x="184976" y="466439"/>
                </a:cubicBezTo>
                <a:cubicBezTo>
                  <a:pt x="182404" y="471773"/>
                  <a:pt x="180689" y="477869"/>
                  <a:pt x="179737" y="484727"/>
                </a:cubicBezTo>
                <a:cubicBezTo>
                  <a:pt x="179737" y="484823"/>
                  <a:pt x="198406" y="484823"/>
                  <a:pt x="198406" y="484823"/>
                </a:cubicBezTo>
                <a:close/>
                <a:moveTo>
                  <a:pt x="358997" y="484823"/>
                </a:moveTo>
                <a:cubicBezTo>
                  <a:pt x="361283" y="480917"/>
                  <a:pt x="363950" y="477393"/>
                  <a:pt x="366998" y="474250"/>
                </a:cubicBezTo>
                <a:cubicBezTo>
                  <a:pt x="372142" y="469297"/>
                  <a:pt x="378238" y="465487"/>
                  <a:pt x="385191" y="462915"/>
                </a:cubicBezTo>
                <a:cubicBezTo>
                  <a:pt x="392144" y="460153"/>
                  <a:pt x="399764" y="458915"/>
                  <a:pt x="408432" y="459391"/>
                </a:cubicBezTo>
                <a:lnTo>
                  <a:pt x="408432" y="440626"/>
                </a:lnTo>
                <a:cubicBezTo>
                  <a:pt x="394525" y="440055"/>
                  <a:pt x="382524" y="443103"/>
                  <a:pt x="372428" y="449866"/>
                </a:cubicBezTo>
                <a:cubicBezTo>
                  <a:pt x="362522" y="456629"/>
                  <a:pt x="355187" y="466154"/>
                  <a:pt x="350520" y="478726"/>
                </a:cubicBezTo>
                <a:lnTo>
                  <a:pt x="349853" y="442817"/>
                </a:lnTo>
                <a:lnTo>
                  <a:pt x="332613" y="442817"/>
                </a:lnTo>
                <a:lnTo>
                  <a:pt x="332613" y="484918"/>
                </a:lnTo>
                <a:lnTo>
                  <a:pt x="358997" y="484823"/>
                </a:lnTo>
                <a:close/>
                <a:moveTo>
                  <a:pt x="445580" y="484823"/>
                </a:moveTo>
                <a:cubicBezTo>
                  <a:pt x="447389" y="479298"/>
                  <a:pt x="449771" y="474536"/>
                  <a:pt x="452628" y="470440"/>
                </a:cubicBezTo>
                <a:cubicBezTo>
                  <a:pt x="456438" y="465201"/>
                  <a:pt x="461200" y="461296"/>
                  <a:pt x="467011" y="458534"/>
                </a:cubicBezTo>
                <a:cubicBezTo>
                  <a:pt x="472916" y="455581"/>
                  <a:pt x="479870" y="454057"/>
                  <a:pt x="487775" y="454057"/>
                </a:cubicBezTo>
                <a:cubicBezTo>
                  <a:pt x="493681" y="454057"/>
                  <a:pt x="498824" y="455105"/>
                  <a:pt x="502920" y="457105"/>
                </a:cubicBezTo>
                <a:cubicBezTo>
                  <a:pt x="507111" y="459105"/>
                  <a:pt x="510350" y="461867"/>
                  <a:pt x="512731" y="465487"/>
                </a:cubicBezTo>
                <a:cubicBezTo>
                  <a:pt x="515303" y="468821"/>
                  <a:pt x="517112" y="472916"/>
                  <a:pt x="518065" y="477679"/>
                </a:cubicBezTo>
                <a:lnTo>
                  <a:pt x="519398" y="484918"/>
                </a:lnTo>
                <a:lnTo>
                  <a:pt x="541306" y="484918"/>
                </a:lnTo>
                <a:cubicBezTo>
                  <a:pt x="542735" y="479774"/>
                  <a:pt x="544640" y="475202"/>
                  <a:pt x="547211" y="471107"/>
                </a:cubicBezTo>
                <a:cubicBezTo>
                  <a:pt x="550450" y="465963"/>
                  <a:pt x="554736" y="461867"/>
                  <a:pt x="559975" y="458915"/>
                </a:cubicBezTo>
                <a:cubicBezTo>
                  <a:pt x="565309" y="455771"/>
                  <a:pt x="572072" y="454152"/>
                  <a:pt x="580263" y="454152"/>
                </a:cubicBezTo>
                <a:cubicBezTo>
                  <a:pt x="593693" y="454152"/>
                  <a:pt x="603123" y="457581"/>
                  <a:pt x="608552" y="464249"/>
                </a:cubicBezTo>
                <a:cubicBezTo>
                  <a:pt x="612648" y="469297"/>
                  <a:pt x="615220" y="476250"/>
                  <a:pt x="616172" y="485013"/>
                </a:cubicBezTo>
                <a:lnTo>
                  <a:pt x="635127" y="485013"/>
                </a:lnTo>
                <a:cubicBezTo>
                  <a:pt x="632936" y="453962"/>
                  <a:pt x="616077" y="438341"/>
                  <a:pt x="584454" y="438341"/>
                </a:cubicBezTo>
                <a:cubicBezTo>
                  <a:pt x="574358" y="438341"/>
                  <a:pt x="564833" y="440912"/>
                  <a:pt x="555974" y="445865"/>
                </a:cubicBezTo>
                <a:cubicBezTo>
                  <a:pt x="547021" y="450818"/>
                  <a:pt x="540258" y="458343"/>
                  <a:pt x="535781" y="468440"/>
                </a:cubicBezTo>
                <a:cubicBezTo>
                  <a:pt x="533019" y="458343"/>
                  <a:pt x="527495" y="450818"/>
                  <a:pt x="519113" y="445865"/>
                </a:cubicBezTo>
                <a:cubicBezTo>
                  <a:pt x="510921" y="440722"/>
                  <a:pt x="501872" y="438150"/>
                  <a:pt x="491681" y="438150"/>
                </a:cubicBezTo>
                <a:cubicBezTo>
                  <a:pt x="479203" y="438150"/>
                  <a:pt x="468821" y="440912"/>
                  <a:pt x="460724" y="446246"/>
                </a:cubicBezTo>
                <a:cubicBezTo>
                  <a:pt x="452819" y="451580"/>
                  <a:pt x="446342" y="459010"/>
                  <a:pt x="441484" y="468535"/>
                </a:cubicBezTo>
                <a:lnTo>
                  <a:pt x="440531" y="442722"/>
                </a:lnTo>
                <a:lnTo>
                  <a:pt x="423291" y="442722"/>
                </a:lnTo>
                <a:lnTo>
                  <a:pt x="423291" y="484823"/>
                </a:lnTo>
                <a:lnTo>
                  <a:pt x="445580" y="484823"/>
                </a:lnTo>
                <a:lnTo>
                  <a:pt x="445580" y="484823"/>
                </a:lnTo>
                <a:close/>
                <a:moveTo>
                  <a:pt x="679513" y="484823"/>
                </a:moveTo>
                <a:cubicBezTo>
                  <a:pt x="680657" y="474821"/>
                  <a:pt x="684562" y="467487"/>
                  <a:pt x="691039" y="462629"/>
                </a:cubicBezTo>
                <a:cubicBezTo>
                  <a:pt x="698659" y="456914"/>
                  <a:pt x="708279" y="453962"/>
                  <a:pt x="720185" y="453962"/>
                </a:cubicBezTo>
                <a:cubicBezTo>
                  <a:pt x="725710" y="453962"/>
                  <a:pt x="730949" y="454438"/>
                  <a:pt x="735711" y="455486"/>
                </a:cubicBezTo>
                <a:cubicBezTo>
                  <a:pt x="740664" y="456343"/>
                  <a:pt x="744950" y="457867"/>
                  <a:pt x="748570" y="460248"/>
                </a:cubicBezTo>
                <a:cubicBezTo>
                  <a:pt x="752380" y="462629"/>
                  <a:pt x="755237" y="465963"/>
                  <a:pt x="757142" y="470059"/>
                </a:cubicBezTo>
                <a:cubicBezTo>
                  <a:pt x="759333" y="473869"/>
                  <a:pt x="760381" y="478822"/>
                  <a:pt x="760381" y="484727"/>
                </a:cubicBezTo>
                <a:lnTo>
                  <a:pt x="779050" y="484727"/>
                </a:lnTo>
                <a:cubicBezTo>
                  <a:pt x="778764" y="475774"/>
                  <a:pt x="777145" y="468344"/>
                  <a:pt x="774097" y="462534"/>
                </a:cubicBezTo>
                <a:cubicBezTo>
                  <a:pt x="770668" y="455962"/>
                  <a:pt x="766286" y="450914"/>
                  <a:pt x="760952" y="447389"/>
                </a:cubicBezTo>
                <a:cubicBezTo>
                  <a:pt x="755618" y="443770"/>
                  <a:pt x="749522" y="441484"/>
                  <a:pt x="742760" y="440246"/>
                </a:cubicBezTo>
                <a:cubicBezTo>
                  <a:pt x="736092" y="438912"/>
                  <a:pt x="729329" y="438150"/>
                  <a:pt x="722567" y="438150"/>
                </a:cubicBezTo>
                <a:cubicBezTo>
                  <a:pt x="713613" y="438150"/>
                  <a:pt x="705517" y="439103"/>
                  <a:pt x="698183" y="441198"/>
                </a:cubicBezTo>
                <a:cubicBezTo>
                  <a:pt x="690848" y="443198"/>
                  <a:pt x="684467" y="446246"/>
                  <a:pt x="678847" y="450437"/>
                </a:cubicBezTo>
                <a:cubicBezTo>
                  <a:pt x="673513" y="454628"/>
                  <a:pt x="669227" y="459962"/>
                  <a:pt x="666083" y="466439"/>
                </a:cubicBezTo>
                <a:cubicBezTo>
                  <a:pt x="663512" y="471773"/>
                  <a:pt x="661797" y="477869"/>
                  <a:pt x="660845" y="484727"/>
                </a:cubicBezTo>
                <a:cubicBezTo>
                  <a:pt x="660845" y="484823"/>
                  <a:pt x="679513" y="484823"/>
                  <a:pt x="679513" y="484823"/>
                </a:cubicBezTo>
                <a:close/>
                <a:moveTo>
                  <a:pt x="827532" y="484823"/>
                </a:moveTo>
                <a:cubicBezTo>
                  <a:pt x="829151" y="480917"/>
                  <a:pt x="831152" y="477298"/>
                  <a:pt x="833533" y="473964"/>
                </a:cubicBezTo>
                <a:cubicBezTo>
                  <a:pt x="837724" y="467963"/>
                  <a:pt x="842867" y="463201"/>
                  <a:pt x="849249" y="459676"/>
                </a:cubicBezTo>
                <a:cubicBezTo>
                  <a:pt x="855631" y="455962"/>
                  <a:pt x="863251" y="453962"/>
                  <a:pt x="872109" y="453962"/>
                </a:cubicBezTo>
                <a:cubicBezTo>
                  <a:pt x="881063" y="453962"/>
                  <a:pt x="888587" y="455962"/>
                  <a:pt x="894779" y="459676"/>
                </a:cubicBezTo>
                <a:cubicBezTo>
                  <a:pt x="901065" y="463487"/>
                  <a:pt x="906209" y="468440"/>
                  <a:pt x="910209" y="474536"/>
                </a:cubicBezTo>
                <a:cubicBezTo>
                  <a:pt x="912305" y="477774"/>
                  <a:pt x="914114" y="481203"/>
                  <a:pt x="915543" y="484823"/>
                </a:cubicBezTo>
                <a:lnTo>
                  <a:pt x="940213" y="484823"/>
                </a:lnTo>
                <a:lnTo>
                  <a:pt x="940213" y="442722"/>
                </a:lnTo>
                <a:lnTo>
                  <a:pt x="921449" y="442722"/>
                </a:lnTo>
                <a:lnTo>
                  <a:pt x="921449" y="469201"/>
                </a:lnTo>
                <a:cubicBezTo>
                  <a:pt x="919163" y="465011"/>
                  <a:pt x="916496" y="461010"/>
                  <a:pt x="913067" y="457295"/>
                </a:cubicBezTo>
                <a:cubicBezTo>
                  <a:pt x="909923" y="453485"/>
                  <a:pt x="906304" y="450247"/>
                  <a:pt x="902113" y="447485"/>
                </a:cubicBezTo>
                <a:cubicBezTo>
                  <a:pt x="897922" y="444532"/>
                  <a:pt x="893350" y="442246"/>
                  <a:pt x="888206" y="440626"/>
                </a:cubicBezTo>
                <a:cubicBezTo>
                  <a:pt x="883349" y="439007"/>
                  <a:pt x="878015" y="438150"/>
                  <a:pt x="872204" y="438150"/>
                </a:cubicBezTo>
                <a:cubicBezTo>
                  <a:pt x="861155" y="438150"/>
                  <a:pt x="851154" y="440246"/>
                  <a:pt x="842486" y="444437"/>
                </a:cubicBezTo>
                <a:cubicBezTo>
                  <a:pt x="834009" y="448437"/>
                  <a:pt x="826770" y="453866"/>
                  <a:pt x="820769" y="461105"/>
                </a:cubicBezTo>
                <a:cubicBezTo>
                  <a:pt x="815245" y="467773"/>
                  <a:pt x="810863" y="475774"/>
                  <a:pt x="807720" y="484823"/>
                </a:cubicBezTo>
                <a:lnTo>
                  <a:pt x="827532" y="484823"/>
                </a:lnTo>
                <a:close/>
                <a:moveTo>
                  <a:pt x="16288" y="484823"/>
                </a:moveTo>
                <a:lnTo>
                  <a:pt x="16288" y="571119"/>
                </a:lnTo>
                <a:lnTo>
                  <a:pt x="33528" y="571119"/>
                </a:lnTo>
                <a:lnTo>
                  <a:pt x="33528" y="567214"/>
                </a:lnTo>
                <a:lnTo>
                  <a:pt x="35528" y="571119"/>
                </a:lnTo>
                <a:lnTo>
                  <a:pt x="52864" y="571119"/>
                </a:lnTo>
                <a:lnTo>
                  <a:pt x="46958" y="564166"/>
                </a:lnTo>
                <a:cubicBezTo>
                  <a:pt x="42863" y="557975"/>
                  <a:pt x="39719" y="551021"/>
                  <a:pt x="37719" y="543306"/>
                </a:cubicBezTo>
                <a:cubicBezTo>
                  <a:pt x="36005" y="535400"/>
                  <a:pt x="35052" y="527495"/>
                  <a:pt x="35052" y="519494"/>
                </a:cubicBezTo>
                <a:cubicBezTo>
                  <a:pt x="35052" y="511588"/>
                  <a:pt x="36005" y="503777"/>
                  <a:pt x="37719" y="495967"/>
                </a:cubicBezTo>
                <a:cubicBezTo>
                  <a:pt x="38767" y="492062"/>
                  <a:pt x="40005" y="488347"/>
                  <a:pt x="41529" y="484823"/>
                </a:cubicBezTo>
                <a:lnTo>
                  <a:pt x="16288" y="484823"/>
                </a:lnTo>
                <a:close/>
                <a:moveTo>
                  <a:pt x="132683" y="484823"/>
                </a:moveTo>
                <a:cubicBezTo>
                  <a:pt x="134207" y="488347"/>
                  <a:pt x="135350" y="492062"/>
                  <a:pt x="136208" y="495967"/>
                </a:cubicBezTo>
                <a:cubicBezTo>
                  <a:pt x="138208" y="503682"/>
                  <a:pt x="139256" y="511588"/>
                  <a:pt x="139256" y="519494"/>
                </a:cubicBezTo>
                <a:cubicBezTo>
                  <a:pt x="139256" y="527495"/>
                  <a:pt x="138208" y="535400"/>
                  <a:pt x="136208" y="543306"/>
                </a:cubicBezTo>
                <a:cubicBezTo>
                  <a:pt x="134493" y="551021"/>
                  <a:pt x="131540" y="557975"/>
                  <a:pt x="127349" y="564166"/>
                </a:cubicBezTo>
                <a:lnTo>
                  <a:pt x="121920" y="571119"/>
                </a:lnTo>
                <a:lnTo>
                  <a:pt x="144971" y="571119"/>
                </a:lnTo>
                <a:cubicBezTo>
                  <a:pt x="148781" y="564928"/>
                  <a:pt x="151733" y="558260"/>
                  <a:pt x="153829" y="550831"/>
                </a:cubicBezTo>
                <a:cubicBezTo>
                  <a:pt x="156591" y="540925"/>
                  <a:pt x="158020" y="530543"/>
                  <a:pt x="158020" y="519589"/>
                </a:cubicBezTo>
                <a:cubicBezTo>
                  <a:pt x="158020" y="508730"/>
                  <a:pt x="156591" y="498348"/>
                  <a:pt x="153829" y="488728"/>
                </a:cubicBezTo>
                <a:lnTo>
                  <a:pt x="152686" y="485013"/>
                </a:lnTo>
                <a:lnTo>
                  <a:pt x="132683" y="484823"/>
                </a:lnTo>
                <a:close/>
                <a:moveTo>
                  <a:pt x="179737" y="484823"/>
                </a:moveTo>
                <a:lnTo>
                  <a:pt x="179261" y="489775"/>
                </a:lnTo>
                <a:lnTo>
                  <a:pt x="198025" y="489775"/>
                </a:lnTo>
                <a:lnTo>
                  <a:pt x="198406" y="484823"/>
                </a:lnTo>
                <a:lnTo>
                  <a:pt x="179737" y="484823"/>
                </a:lnTo>
                <a:close/>
                <a:moveTo>
                  <a:pt x="279273" y="484823"/>
                </a:moveTo>
                <a:lnTo>
                  <a:pt x="279273" y="485585"/>
                </a:lnTo>
                <a:cubicBezTo>
                  <a:pt x="279273" y="489775"/>
                  <a:pt x="278702" y="493205"/>
                  <a:pt x="277559" y="495681"/>
                </a:cubicBezTo>
                <a:lnTo>
                  <a:pt x="273082" y="501872"/>
                </a:lnTo>
                <a:lnTo>
                  <a:pt x="265652" y="504920"/>
                </a:lnTo>
                <a:cubicBezTo>
                  <a:pt x="262700" y="505492"/>
                  <a:pt x="259175" y="505968"/>
                  <a:pt x="255175" y="506349"/>
                </a:cubicBezTo>
                <a:cubicBezTo>
                  <a:pt x="245078" y="507587"/>
                  <a:pt x="235077" y="508921"/>
                  <a:pt x="225076" y="510254"/>
                </a:cubicBezTo>
                <a:cubicBezTo>
                  <a:pt x="215360" y="511493"/>
                  <a:pt x="206502" y="513588"/>
                  <a:pt x="198692" y="516826"/>
                </a:cubicBezTo>
                <a:cubicBezTo>
                  <a:pt x="190881" y="520065"/>
                  <a:pt x="184594" y="524637"/>
                  <a:pt x="179927" y="530828"/>
                </a:cubicBezTo>
                <a:cubicBezTo>
                  <a:pt x="175165" y="536829"/>
                  <a:pt x="172784" y="545116"/>
                  <a:pt x="172784" y="555879"/>
                </a:cubicBezTo>
                <a:cubicBezTo>
                  <a:pt x="172784" y="561499"/>
                  <a:pt x="173450" y="566547"/>
                  <a:pt x="174879" y="571119"/>
                </a:cubicBezTo>
                <a:lnTo>
                  <a:pt x="196501" y="571119"/>
                </a:lnTo>
                <a:lnTo>
                  <a:pt x="194215" y="567500"/>
                </a:lnTo>
                <a:cubicBezTo>
                  <a:pt x="192405" y="563690"/>
                  <a:pt x="191548" y="559403"/>
                  <a:pt x="191548" y="554641"/>
                </a:cubicBezTo>
                <a:cubicBezTo>
                  <a:pt x="191548" y="547116"/>
                  <a:pt x="193739" y="541306"/>
                  <a:pt x="198120" y="537401"/>
                </a:cubicBezTo>
                <a:cubicBezTo>
                  <a:pt x="202692" y="533210"/>
                  <a:pt x="208407" y="529971"/>
                  <a:pt x="215360" y="527780"/>
                </a:cubicBezTo>
                <a:cubicBezTo>
                  <a:pt x="222314" y="525590"/>
                  <a:pt x="229934" y="523970"/>
                  <a:pt x="238220" y="523018"/>
                </a:cubicBezTo>
                <a:cubicBezTo>
                  <a:pt x="246698" y="521780"/>
                  <a:pt x="254984" y="520541"/>
                  <a:pt x="262890" y="519113"/>
                </a:cubicBezTo>
                <a:lnTo>
                  <a:pt x="271844" y="517017"/>
                </a:lnTo>
                <a:lnTo>
                  <a:pt x="278702" y="512350"/>
                </a:lnTo>
                <a:lnTo>
                  <a:pt x="279273" y="512350"/>
                </a:lnTo>
                <a:lnTo>
                  <a:pt x="279273" y="536734"/>
                </a:lnTo>
                <a:cubicBezTo>
                  <a:pt x="279273" y="544259"/>
                  <a:pt x="277749" y="551021"/>
                  <a:pt x="274892" y="557022"/>
                </a:cubicBezTo>
                <a:cubicBezTo>
                  <a:pt x="272320" y="562451"/>
                  <a:pt x="268891" y="567214"/>
                  <a:pt x="264605" y="571119"/>
                </a:cubicBezTo>
                <a:lnTo>
                  <a:pt x="279178" y="571119"/>
                </a:lnTo>
                <a:lnTo>
                  <a:pt x="280226" y="569595"/>
                </a:lnTo>
                <a:lnTo>
                  <a:pt x="280416" y="571119"/>
                </a:lnTo>
                <a:lnTo>
                  <a:pt x="298037" y="571119"/>
                </a:lnTo>
                <a:lnTo>
                  <a:pt x="297942" y="569309"/>
                </a:lnTo>
                <a:lnTo>
                  <a:pt x="297942" y="487775"/>
                </a:lnTo>
                <a:lnTo>
                  <a:pt x="297942" y="484918"/>
                </a:lnTo>
                <a:cubicBezTo>
                  <a:pt x="297942" y="484823"/>
                  <a:pt x="279273" y="484823"/>
                  <a:pt x="279273" y="484823"/>
                </a:cubicBezTo>
                <a:close/>
                <a:moveTo>
                  <a:pt x="332518" y="484823"/>
                </a:moveTo>
                <a:lnTo>
                  <a:pt x="332518" y="571119"/>
                </a:lnTo>
                <a:lnTo>
                  <a:pt x="351377" y="571119"/>
                </a:lnTo>
                <a:lnTo>
                  <a:pt x="351377" y="514541"/>
                </a:lnTo>
                <a:cubicBezTo>
                  <a:pt x="351377" y="506349"/>
                  <a:pt x="352711" y="498920"/>
                  <a:pt x="355473" y="492157"/>
                </a:cubicBezTo>
                <a:lnTo>
                  <a:pt x="358997" y="484823"/>
                </a:lnTo>
                <a:lnTo>
                  <a:pt x="332518" y="484823"/>
                </a:lnTo>
                <a:close/>
                <a:moveTo>
                  <a:pt x="423291" y="484823"/>
                </a:moveTo>
                <a:lnTo>
                  <a:pt x="423291" y="571119"/>
                </a:lnTo>
                <a:lnTo>
                  <a:pt x="442055" y="571119"/>
                </a:lnTo>
                <a:lnTo>
                  <a:pt x="442055" y="510540"/>
                </a:lnTo>
                <a:cubicBezTo>
                  <a:pt x="442055" y="502444"/>
                  <a:pt x="443008" y="494919"/>
                  <a:pt x="444722" y="488251"/>
                </a:cubicBezTo>
                <a:lnTo>
                  <a:pt x="445675" y="484823"/>
                </a:lnTo>
                <a:lnTo>
                  <a:pt x="423291" y="484823"/>
                </a:lnTo>
                <a:lnTo>
                  <a:pt x="423291" y="484823"/>
                </a:lnTo>
                <a:close/>
                <a:moveTo>
                  <a:pt x="519494" y="484823"/>
                </a:moveTo>
                <a:lnTo>
                  <a:pt x="519875" y="492157"/>
                </a:lnTo>
                <a:lnTo>
                  <a:pt x="519875" y="571119"/>
                </a:lnTo>
                <a:lnTo>
                  <a:pt x="538639" y="571119"/>
                </a:lnTo>
                <a:lnTo>
                  <a:pt x="538639" y="509492"/>
                </a:lnTo>
                <a:cubicBezTo>
                  <a:pt x="538639" y="502349"/>
                  <a:pt x="539210" y="495491"/>
                  <a:pt x="540449" y="489014"/>
                </a:cubicBezTo>
                <a:lnTo>
                  <a:pt x="541401" y="485013"/>
                </a:lnTo>
                <a:lnTo>
                  <a:pt x="519494" y="485013"/>
                </a:lnTo>
                <a:close/>
                <a:moveTo>
                  <a:pt x="616268" y="484823"/>
                </a:moveTo>
                <a:lnTo>
                  <a:pt x="616649" y="493014"/>
                </a:lnTo>
                <a:lnTo>
                  <a:pt x="616649" y="571024"/>
                </a:lnTo>
                <a:lnTo>
                  <a:pt x="635413" y="571024"/>
                </a:lnTo>
                <a:lnTo>
                  <a:pt x="635413" y="492062"/>
                </a:lnTo>
                <a:lnTo>
                  <a:pt x="635127" y="484727"/>
                </a:lnTo>
                <a:lnTo>
                  <a:pt x="616268" y="484823"/>
                </a:lnTo>
                <a:lnTo>
                  <a:pt x="616268" y="484823"/>
                </a:lnTo>
                <a:close/>
                <a:moveTo>
                  <a:pt x="660940" y="484823"/>
                </a:moveTo>
                <a:lnTo>
                  <a:pt x="660463" y="489775"/>
                </a:lnTo>
                <a:lnTo>
                  <a:pt x="679228" y="489775"/>
                </a:lnTo>
                <a:lnTo>
                  <a:pt x="679609" y="484823"/>
                </a:lnTo>
                <a:lnTo>
                  <a:pt x="660940" y="484823"/>
                </a:lnTo>
                <a:close/>
                <a:moveTo>
                  <a:pt x="760286" y="484823"/>
                </a:moveTo>
                <a:lnTo>
                  <a:pt x="760286" y="485585"/>
                </a:lnTo>
                <a:cubicBezTo>
                  <a:pt x="760286" y="489775"/>
                  <a:pt x="759714" y="493205"/>
                  <a:pt x="758476" y="495681"/>
                </a:cubicBezTo>
                <a:lnTo>
                  <a:pt x="753999" y="501872"/>
                </a:lnTo>
                <a:lnTo>
                  <a:pt x="746570" y="504920"/>
                </a:lnTo>
                <a:cubicBezTo>
                  <a:pt x="743617" y="505492"/>
                  <a:pt x="740188" y="505968"/>
                  <a:pt x="736187" y="506349"/>
                </a:cubicBezTo>
                <a:cubicBezTo>
                  <a:pt x="726091" y="507587"/>
                  <a:pt x="716090" y="508921"/>
                  <a:pt x="706088" y="510254"/>
                </a:cubicBezTo>
                <a:cubicBezTo>
                  <a:pt x="696373" y="511493"/>
                  <a:pt x="687610" y="513588"/>
                  <a:pt x="679704" y="516826"/>
                </a:cubicBezTo>
                <a:cubicBezTo>
                  <a:pt x="671989" y="520065"/>
                  <a:pt x="665702" y="524637"/>
                  <a:pt x="660940" y="530828"/>
                </a:cubicBezTo>
                <a:cubicBezTo>
                  <a:pt x="656177" y="536829"/>
                  <a:pt x="653796" y="545116"/>
                  <a:pt x="653796" y="555879"/>
                </a:cubicBezTo>
                <a:cubicBezTo>
                  <a:pt x="653796" y="561499"/>
                  <a:pt x="654463" y="566547"/>
                  <a:pt x="655796" y="571119"/>
                </a:cubicBezTo>
                <a:lnTo>
                  <a:pt x="677513" y="571119"/>
                </a:lnTo>
                <a:lnTo>
                  <a:pt x="675227" y="567500"/>
                </a:lnTo>
                <a:cubicBezTo>
                  <a:pt x="673418" y="563690"/>
                  <a:pt x="672560" y="559403"/>
                  <a:pt x="672560" y="554641"/>
                </a:cubicBezTo>
                <a:cubicBezTo>
                  <a:pt x="672560" y="547116"/>
                  <a:pt x="674751" y="541306"/>
                  <a:pt x="679133" y="537401"/>
                </a:cubicBezTo>
                <a:cubicBezTo>
                  <a:pt x="683705" y="533210"/>
                  <a:pt x="689420" y="529971"/>
                  <a:pt x="696373" y="527780"/>
                </a:cubicBezTo>
                <a:cubicBezTo>
                  <a:pt x="703326" y="525590"/>
                  <a:pt x="710946" y="523970"/>
                  <a:pt x="719233" y="523018"/>
                </a:cubicBezTo>
                <a:cubicBezTo>
                  <a:pt x="727805" y="521780"/>
                  <a:pt x="735997" y="520541"/>
                  <a:pt x="743903" y="519113"/>
                </a:cubicBezTo>
                <a:lnTo>
                  <a:pt x="752856" y="517017"/>
                </a:lnTo>
                <a:lnTo>
                  <a:pt x="759714" y="512350"/>
                </a:lnTo>
                <a:lnTo>
                  <a:pt x="760286" y="512350"/>
                </a:lnTo>
                <a:lnTo>
                  <a:pt x="760286" y="536734"/>
                </a:lnTo>
                <a:cubicBezTo>
                  <a:pt x="760286" y="544259"/>
                  <a:pt x="758857" y="551021"/>
                  <a:pt x="755904" y="557022"/>
                </a:cubicBezTo>
                <a:cubicBezTo>
                  <a:pt x="753332" y="562451"/>
                  <a:pt x="749903" y="567214"/>
                  <a:pt x="745522" y="571119"/>
                </a:cubicBezTo>
                <a:lnTo>
                  <a:pt x="760095" y="571119"/>
                </a:lnTo>
                <a:lnTo>
                  <a:pt x="761238" y="569595"/>
                </a:lnTo>
                <a:lnTo>
                  <a:pt x="761429" y="571119"/>
                </a:lnTo>
                <a:lnTo>
                  <a:pt x="779145" y="571119"/>
                </a:lnTo>
                <a:lnTo>
                  <a:pt x="779145" y="569309"/>
                </a:lnTo>
                <a:lnTo>
                  <a:pt x="779145" y="487775"/>
                </a:lnTo>
                <a:lnTo>
                  <a:pt x="779050" y="484918"/>
                </a:lnTo>
                <a:cubicBezTo>
                  <a:pt x="779050" y="484823"/>
                  <a:pt x="760286" y="484823"/>
                  <a:pt x="760286" y="484823"/>
                </a:cubicBezTo>
                <a:close/>
                <a:moveTo>
                  <a:pt x="807720" y="484823"/>
                </a:moveTo>
                <a:lnTo>
                  <a:pt x="807434" y="485870"/>
                </a:lnTo>
                <a:cubicBezTo>
                  <a:pt x="804482" y="495205"/>
                  <a:pt x="802958" y="505111"/>
                  <a:pt x="802958" y="515684"/>
                </a:cubicBezTo>
                <a:cubicBezTo>
                  <a:pt x="802958" y="526637"/>
                  <a:pt x="804291" y="536924"/>
                  <a:pt x="806768" y="546640"/>
                </a:cubicBezTo>
                <a:cubicBezTo>
                  <a:pt x="809244" y="555974"/>
                  <a:pt x="813245" y="564166"/>
                  <a:pt x="818579" y="571119"/>
                </a:cubicBezTo>
                <a:lnTo>
                  <a:pt x="845439" y="571119"/>
                </a:lnTo>
                <a:cubicBezTo>
                  <a:pt x="840867" y="567976"/>
                  <a:pt x="836962" y="564356"/>
                  <a:pt x="833819" y="560070"/>
                </a:cubicBezTo>
                <a:cubicBezTo>
                  <a:pt x="829628" y="554260"/>
                  <a:pt x="826580" y="547688"/>
                  <a:pt x="824675" y="540353"/>
                </a:cubicBezTo>
                <a:cubicBezTo>
                  <a:pt x="822674" y="533019"/>
                  <a:pt x="821722" y="525494"/>
                  <a:pt x="821722" y="517779"/>
                </a:cubicBezTo>
                <a:cubicBezTo>
                  <a:pt x="821722" y="509778"/>
                  <a:pt x="822579" y="502063"/>
                  <a:pt x="824294" y="494538"/>
                </a:cubicBezTo>
                <a:lnTo>
                  <a:pt x="827532" y="484823"/>
                </a:lnTo>
                <a:lnTo>
                  <a:pt x="807720" y="484823"/>
                </a:lnTo>
                <a:close/>
                <a:moveTo>
                  <a:pt x="915638" y="484823"/>
                </a:moveTo>
                <a:cubicBezTo>
                  <a:pt x="917067" y="488061"/>
                  <a:pt x="918115" y="491490"/>
                  <a:pt x="918877" y="495110"/>
                </a:cubicBezTo>
                <a:cubicBezTo>
                  <a:pt x="920591" y="502539"/>
                  <a:pt x="921544" y="510159"/>
                  <a:pt x="921544" y="517779"/>
                </a:cubicBezTo>
                <a:cubicBezTo>
                  <a:pt x="921544" y="525494"/>
                  <a:pt x="920401" y="533019"/>
                  <a:pt x="918210" y="540353"/>
                </a:cubicBezTo>
                <a:cubicBezTo>
                  <a:pt x="916210" y="547688"/>
                  <a:pt x="913162" y="554260"/>
                  <a:pt x="908971" y="560070"/>
                </a:cubicBezTo>
                <a:cubicBezTo>
                  <a:pt x="905732" y="564356"/>
                  <a:pt x="901922" y="567976"/>
                  <a:pt x="897541" y="571119"/>
                </a:cubicBezTo>
                <a:lnTo>
                  <a:pt x="916305" y="571119"/>
                </a:lnTo>
                <a:lnTo>
                  <a:pt x="920877" y="563023"/>
                </a:lnTo>
                <a:lnTo>
                  <a:pt x="921068" y="571119"/>
                </a:lnTo>
                <a:lnTo>
                  <a:pt x="940118" y="571119"/>
                </a:lnTo>
                <a:lnTo>
                  <a:pt x="940118" y="484823"/>
                </a:lnTo>
                <a:lnTo>
                  <a:pt x="915638" y="484823"/>
                </a:lnTo>
                <a:lnTo>
                  <a:pt x="915638" y="484823"/>
                </a:lnTo>
                <a:close/>
                <a:moveTo>
                  <a:pt x="16288" y="596265"/>
                </a:moveTo>
                <a:lnTo>
                  <a:pt x="33528" y="596265"/>
                </a:lnTo>
                <a:lnTo>
                  <a:pt x="33528" y="571024"/>
                </a:lnTo>
                <a:lnTo>
                  <a:pt x="16288" y="571024"/>
                </a:lnTo>
                <a:lnTo>
                  <a:pt x="16288" y="596265"/>
                </a:lnTo>
                <a:close/>
                <a:moveTo>
                  <a:pt x="35528" y="571024"/>
                </a:moveTo>
                <a:cubicBezTo>
                  <a:pt x="40386" y="579882"/>
                  <a:pt x="46768" y="586740"/>
                  <a:pt x="55245" y="591788"/>
                </a:cubicBezTo>
                <a:cubicBezTo>
                  <a:pt x="65151" y="597503"/>
                  <a:pt x="76391" y="600456"/>
                  <a:pt x="88868" y="600456"/>
                </a:cubicBezTo>
                <a:cubicBezTo>
                  <a:pt x="100584" y="600456"/>
                  <a:pt x="110681" y="598361"/>
                  <a:pt x="119253" y="594170"/>
                </a:cubicBezTo>
                <a:cubicBezTo>
                  <a:pt x="127921" y="589788"/>
                  <a:pt x="135255" y="583978"/>
                  <a:pt x="140970" y="576644"/>
                </a:cubicBezTo>
                <a:lnTo>
                  <a:pt x="144875" y="571119"/>
                </a:lnTo>
                <a:lnTo>
                  <a:pt x="121920" y="571119"/>
                </a:lnTo>
                <a:cubicBezTo>
                  <a:pt x="118967" y="574358"/>
                  <a:pt x="115729" y="577120"/>
                  <a:pt x="111824" y="579406"/>
                </a:cubicBezTo>
                <a:cubicBezTo>
                  <a:pt x="105537" y="583216"/>
                  <a:pt x="97917" y="585121"/>
                  <a:pt x="88964" y="585121"/>
                </a:cubicBezTo>
                <a:cubicBezTo>
                  <a:pt x="79058" y="585121"/>
                  <a:pt x="70676" y="583216"/>
                  <a:pt x="63722" y="579406"/>
                </a:cubicBezTo>
                <a:cubicBezTo>
                  <a:pt x="59722" y="577120"/>
                  <a:pt x="56102" y="574358"/>
                  <a:pt x="52959" y="571214"/>
                </a:cubicBezTo>
                <a:lnTo>
                  <a:pt x="35528" y="571024"/>
                </a:lnTo>
                <a:close/>
                <a:moveTo>
                  <a:pt x="174784" y="571024"/>
                </a:moveTo>
                <a:lnTo>
                  <a:pt x="176594" y="576072"/>
                </a:lnTo>
                <a:cubicBezTo>
                  <a:pt x="179356" y="581597"/>
                  <a:pt x="183071" y="586264"/>
                  <a:pt x="187643" y="589979"/>
                </a:cubicBezTo>
                <a:cubicBezTo>
                  <a:pt x="192405" y="593598"/>
                  <a:pt x="197930" y="596170"/>
                  <a:pt x="204026" y="597789"/>
                </a:cubicBezTo>
                <a:cubicBezTo>
                  <a:pt x="210312" y="599504"/>
                  <a:pt x="217075" y="600456"/>
                  <a:pt x="224314" y="600456"/>
                </a:cubicBezTo>
                <a:cubicBezTo>
                  <a:pt x="231839" y="600456"/>
                  <a:pt x="238316" y="599789"/>
                  <a:pt x="243554" y="598361"/>
                </a:cubicBezTo>
                <a:cubicBezTo>
                  <a:pt x="249079" y="596932"/>
                  <a:pt x="254032" y="595027"/>
                  <a:pt x="258128" y="592360"/>
                </a:cubicBezTo>
                <a:cubicBezTo>
                  <a:pt x="262509" y="589788"/>
                  <a:pt x="266319" y="586645"/>
                  <a:pt x="269653" y="582930"/>
                </a:cubicBezTo>
                <a:cubicBezTo>
                  <a:pt x="272891" y="579311"/>
                  <a:pt x="275939" y="575405"/>
                  <a:pt x="279083" y="571024"/>
                </a:cubicBezTo>
                <a:lnTo>
                  <a:pt x="264509" y="571024"/>
                </a:lnTo>
                <a:lnTo>
                  <a:pt x="263176" y="572167"/>
                </a:lnTo>
                <a:cubicBezTo>
                  <a:pt x="258413" y="576358"/>
                  <a:pt x="252794" y="579501"/>
                  <a:pt x="246221" y="581597"/>
                </a:cubicBezTo>
                <a:cubicBezTo>
                  <a:pt x="239649" y="583883"/>
                  <a:pt x="232791" y="584930"/>
                  <a:pt x="225647" y="584930"/>
                </a:cubicBezTo>
                <a:cubicBezTo>
                  <a:pt x="221266" y="584930"/>
                  <a:pt x="216980" y="584168"/>
                  <a:pt x="212884" y="582835"/>
                </a:cubicBezTo>
                <a:cubicBezTo>
                  <a:pt x="208788" y="581406"/>
                  <a:pt x="205073" y="579501"/>
                  <a:pt x="201835" y="576834"/>
                </a:cubicBezTo>
                <a:lnTo>
                  <a:pt x="196406" y="570929"/>
                </a:lnTo>
                <a:lnTo>
                  <a:pt x="174784" y="571024"/>
                </a:lnTo>
                <a:lnTo>
                  <a:pt x="174784" y="571024"/>
                </a:lnTo>
                <a:close/>
                <a:moveTo>
                  <a:pt x="280416" y="571024"/>
                </a:moveTo>
                <a:lnTo>
                  <a:pt x="281369" y="580549"/>
                </a:lnTo>
                <a:lnTo>
                  <a:pt x="284607" y="588836"/>
                </a:lnTo>
                <a:lnTo>
                  <a:pt x="291179" y="594455"/>
                </a:lnTo>
                <a:cubicBezTo>
                  <a:pt x="294132" y="595694"/>
                  <a:pt x="297942" y="596265"/>
                  <a:pt x="302705" y="596265"/>
                </a:cubicBezTo>
                <a:lnTo>
                  <a:pt x="308991" y="595979"/>
                </a:lnTo>
                <a:lnTo>
                  <a:pt x="314897" y="595122"/>
                </a:lnTo>
                <a:lnTo>
                  <a:pt x="314897" y="579406"/>
                </a:lnTo>
                <a:lnTo>
                  <a:pt x="308991" y="580644"/>
                </a:lnTo>
                <a:cubicBezTo>
                  <a:pt x="302324" y="580644"/>
                  <a:pt x="298704" y="577501"/>
                  <a:pt x="298037" y="571214"/>
                </a:cubicBezTo>
                <a:lnTo>
                  <a:pt x="280416" y="571024"/>
                </a:lnTo>
                <a:close/>
                <a:moveTo>
                  <a:pt x="332518" y="596265"/>
                </a:moveTo>
                <a:lnTo>
                  <a:pt x="351282" y="596265"/>
                </a:lnTo>
                <a:lnTo>
                  <a:pt x="351282" y="571024"/>
                </a:lnTo>
                <a:lnTo>
                  <a:pt x="332518" y="571024"/>
                </a:lnTo>
                <a:lnTo>
                  <a:pt x="332518" y="596265"/>
                </a:lnTo>
                <a:close/>
                <a:moveTo>
                  <a:pt x="423291" y="596265"/>
                </a:moveTo>
                <a:lnTo>
                  <a:pt x="441960" y="596265"/>
                </a:lnTo>
                <a:lnTo>
                  <a:pt x="441960" y="571024"/>
                </a:lnTo>
                <a:lnTo>
                  <a:pt x="423291" y="571024"/>
                </a:lnTo>
                <a:lnTo>
                  <a:pt x="423291" y="596265"/>
                </a:lnTo>
                <a:close/>
                <a:moveTo>
                  <a:pt x="519875" y="596265"/>
                </a:moveTo>
                <a:lnTo>
                  <a:pt x="538639" y="596265"/>
                </a:lnTo>
                <a:lnTo>
                  <a:pt x="538639" y="571024"/>
                </a:lnTo>
                <a:lnTo>
                  <a:pt x="519875" y="571024"/>
                </a:lnTo>
                <a:lnTo>
                  <a:pt x="519875" y="596265"/>
                </a:lnTo>
                <a:close/>
                <a:moveTo>
                  <a:pt x="616649" y="596265"/>
                </a:moveTo>
                <a:lnTo>
                  <a:pt x="635413" y="596265"/>
                </a:lnTo>
                <a:lnTo>
                  <a:pt x="635413" y="571024"/>
                </a:lnTo>
                <a:lnTo>
                  <a:pt x="616649" y="571024"/>
                </a:lnTo>
                <a:lnTo>
                  <a:pt x="616649" y="596265"/>
                </a:lnTo>
                <a:close/>
                <a:moveTo>
                  <a:pt x="655892" y="571024"/>
                </a:moveTo>
                <a:lnTo>
                  <a:pt x="657701" y="576072"/>
                </a:lnTo>
                <a:cubicBezTo>
                  <a:pt x="660559" y="581597"/>
                  <a:pt x="664178" y="586264"/>
                  <a:pt x="668750" y="589979"/>
                </a:cubicBezTo>
                <a:cubicBezTo>
                  <a:pt x="673513" y="593598"/>
                  <a:pt x="678942" y="596170"/>
                  <a:pt x="685133" y="597789"/>
                </a:cubicBezTo>
                <a:cubicBezTo>
                  <a:pt x="691420" y="599504"/>
                  <a:pt x="698183" y="600456"/>
                  <a:pt x="705231" y="600456"/>
                </a:cubicBezTo>
                <a:cubicBezTo>
                  <a:pt x="712851" y="600456"/>
                  <a:pt x="719328" y="599789"/>
                  <a:pt x="724662" y="598361"/>
                </a:cubicBezTo>
                <a:cubicBezTo>
                  <a:pt x="730282" y="596932"/>
                  <a:pt x="735140" y="595027"/>
                  <a:pt x="739331" y="592360"/>
                </a:cubicBezTo>
                <a:cubicBezTo>
                  <a:pt x="743617" y="589788"/>
                  <a:pt x="747522" y="586645"/>
                  <a:pt x="750951" y="582930"/>
                </a:cubicBezTo>
                <a:cubicBezTo>
                  <a:pt x="754190" y="579311"/>
                  <a:pt x="757238" y="575405"/>
                  <a:pt x="760190" y="571024"/>
                </a:cubicBezTo>
                <a:lnTo>
                  <a:pt x="745617" y="571024"/>
                </a:lnTo>
                <a:lnTo>
                  <a:pt x="744379" y="572167"/>
                </a:lnTo>
                <a:cubicBezTo>
                  <a:pt x="739616" y="576358"/>
                  <a:pt x="733901" y="579501"/>
                  <a:pt x="727424" y="581597"/>
                </a:cubicBezTo>
                <a:cubicBezTo>
                  <a:pt x="720947" y="583883"/>
                  <a:pt x="714089" y="584930"/>
                  <a:pt x="706946" y="584930"/>
                </a:cubicBezTo>
                <a:cubicBezTo>
                  <a:pt x="702564" y="584930"/>
                  <a:pt x="698278" y="584168"/>
                  <a:pt x="694182" y="582835"/>
                </a:cubicBezTo>
                <a:cubicBezTo>
                  <a:pt x="689991" y="581406"/>
                  <a:pt x="686372" y="579501"/>
                  <a:pt x="683133" y="576834"/>
                </a:cubicBezTo>
                <a:lnTo>
                  <a:pt x="677704" y="570929"/>
                </a:lnTo>
                <a:lnTo>
                  <a:pt x="655892" y="571024"/>
                </a:lnTo>
                <a:lnTo>
                  <a:pt x="655892" y="571024"/>
                </a:lnTo>
                <a:close/>
                <a:moveTo>
                  <a:pt x="761429" y="571024"/>
                </a:moveTo>
                <a:lnTo>
                  <a:pt x="762381" y="580549"/>
                </a:lnTo>
                <a:lnTo>
                  <a:pt x="765620" y="588836"/>
                </a:lnTo>
                <a:lnTo>
                  <a:pt x="772097" y="594455"/>
                </a:lnTo>
                <a:cubicBezTo>
                  <a:pt x="775145" y="595694"/>
                  <a:pt x="779050" y="596265"/>
                  <a:pt x="783717" y="596265"/>
                </a:cubicBezTo>
                <a:lnTo>
                  <a:pt x="790099" y="595979"/>
                </a:lnTo>
                <a:lnTo>
                  <a:pt x="796004" y="595122"/>
                </a:lnTo>
                <a:lnTo>
                  <a:pt x="796004" y="579406"/>
                </a:lnTo>
                <a:lnTo>
                  <a:pt x="790099" y="580644"/>
                </a:lnTo>
                <a:cubicBezTo>
                  <a:pt x="783431" y="580644"/>
                  <a:pt x="779717" y="577501"/>
                  <a:pt x="779145" y="571214"/>
                </a:cubicBezTo>
                <a:lnTo>
                  <a:pt x="761429" y="571024"/>
                </a:lnTo>
                <a:close/>
                <a:moveTo>
                  <a:pt x="818579" y="571024"/>
                </a:moveTo>
                <a:lnTo>
                  <a:pt x="818960" y="571595"/>
                </a:lnTo>
                <a:cubicBezTo>
                  <a:pt x="824770" y="578739"/>
                  <a:pt x="832009" y="584454"/>
                  <a:pt x="840677" y="588550"/>
                </a:cubicBezTo>
                <a:cubicBezTo>
                  <a:pt x="849344" y="592455"/>
                  <a:pt x="859822" y="594455"/>
                  <a:pt x="872204" y="594455"/>
                </a:cubicBezTo>
                <a:cubicBezTo>
                  <a:pt x="883539" y="594455"/>
                  <a:pt x="893350" y="591598"/>
                  <a:pt x="901732" y="585883"/>
                </a:cubicBezTo>
                <a:cubicBezTo>
                  <a:pt x="907637" y="581882"/>
                  <a:pt x="912590" y="576929"/>
                  <a:pt x="916496" y="571024"/>
                </a:cubicBezTo>
                <a:lnTo>
                  <a:pt x="897731" y="571024"/>
                </a:lnTo>
                <a:lnTo>
                  <a:pt x="893636" y="573596"/>
                </a:lnTo>
                <a:cubicBezTo>
                  <a:pt x="887540" y="577025"/>
                  <a:pt x="880396" y="578644"/>
                  <a:pt x="872204" y="578644"/>
                </a:cubicBezTo>
                <a:cubicBezTo>
                  <a:pt x="863441" y="578644"/>
                  <a:pt x="855917" y="576929"/>
                  <a:pt x="849535" y="573596"/>
                </a:cubicBezTo>
                <a:lnTo>
                  <a:pt x="845439" y="571024"/>
                </a:lnTo>
                <a:cubicBezTo>
                  <a:pt x="845439" y="571024"/>
                  <a:pt x="818579" y="571024"/>
                  <a:pt x="818579" y="571024"/>
                </a:cubicBezTo>
                <a:close/>
                <a:moveTo>
                  <a:pt x="921258" y="571024"/>
                </a:moveTo>
                <a:lnTo>
                  <a:pt x="921639" y="583787"/>
                </a:lnTo>
                <a:cubicBezTo>
                  <a:pt x="921639" y="595694"/>
                  <a:pt x="920020" y="605885"/>
                  <a:pt x="916877" y="614267"/>
                </a:cubicBezTo>
                <a:lnTo>
                  <a:pt x="936498" y="614267"/>
                </a:lnTo>
                <a:cubicBezTo>
                  <a:pt x="939070" y="605219"/>
                  <a:pt x="940308" y="595027"/>
                  <a:pt x="940308" y="583883"/>
                </a:cubicBezTo>
                <a:lnTo>
                  <a:pt x="940308" y="571119"/>
                </a:lnTo>
                <a:cubicBezTo>
                  <a:pt x="940403" y="571024"/>
                  <a:pt x="921258" y="571024"/>
                  <a:pt x="921258" y="571024"/>
                </a:cubicBezTo>
                <a:close/>
                <a:moveTo>
                  <a:pt x="828008" y="614172"/>
                </a:moveTo>
                <a:lnTo>
                  <a:pt x="827342" y="610838"/>
                </a:lnTo>
                <a:lnTo>
                  <a:pt x="808577" y="610838"/>
                </a:lnTo>
                <a:lnTo>
                  <a:pt x="808958" y="614172"/>
                </a:lnTo>
                <a:lnTo>
                  <a:pt x="828008" y="614172"/>
                </a:lnTo>
                <a:close/>
                <a:moveTo>
                  <a:pt x="808863" y="614172"/>
                </a:moveTo>
                <a:cubicBezTo>
                  <a:pt x="809720" y="620840"/>
                  <a:pt x="811816" y="626650"/>
                  <a:pt x="815054" y="631698"/>
                </a:cubicBezTo>
                <a:cubicBezTo>
                  <a:pt x="819055" y="637604"/>
                  <a:pt x="823913" y="642461"/>
                  <a:pt x="829628" y="646271"/>
                </a:cubicBezTo>
                <a:cubicBezTo>
                  <a:pt x="835628" y="650081"/>
                  <a:pt x="842201" y="652748"/>
                  <a:pt x="849630" y="654558"/>
                </a:cubicBezTo>
                <a:cubicBezTo>
                  <a:pt x="856964" y="656368"/>
                  <a:pt x="864489" y="657225"/>
                  <a:pt x="872204" y="657225"/>
                </a:cubicBezTo>
                <a:cubicBezTo>
                  <a:pt x="884777" y="657225"/>
                  <a:pt x="895255" y="655606"/>
                  <a:pt x="903732" y="652177"/>
                </a:cubicBezTo>
                <a:cubicBezTo>
                  <a:pt x="912495" y="648748"/>
                  <a:pt x="919544" y="643890"/>
                  <a:pt x="924878" y="637604"/>
                </a:cubicBezTo>
                <a:cubicBezTo>
                  <a:pt x="930212" y="631317"/>
                  <a:pt x="934212" y="623507"/>
                  <a:pt x="936498" y="614363"/>
                </a:cubicBezTo>
                <a:lnTo>
                  <a:pt x="936498" y="614077"/>
                </a:lnTo>
                <a:lnTo>
                  <a:pt x="916781" y="614077"/>
                </a:lnTo>
                <a:cubicBezTo>
                  <a:pt x="914972" y="618839"/>
                  <a:pt x="912686" y="622935"/>
                  <a:pt x="909923" y="626555"/>
                </a:cubicBezTo>
                <a:cubicBezTo>
                  <a:pt x="902208" y="636556"/>
                  <a:pt x="889635" y="641413"/>
                  <a:pt x="872204" y="641413"/>
                </a:cubicBezTo>
                <a:cubicBezTo>
                  <a:pt x="867061" y="641413"/>
                  <a:pt x="862013" y="640842"/>
                  <a:pt x="857060" y="639604"/>
                </a:cubicBezTo>
                <a:cubicBezTo>
                  <a:pt x="852107" y="638556"/>
                  <a:pt x="847535" y="636937"/>
                  <a:pt x="843344" y="634556"/>
                </a:cubicBezTo>
                <a:cubicBezTo>
                  <a:pt x="839343" y="632174"/>
                  <a:pt x="835819" y="629031"/>
                  <a:pt x="832961" y="625031"/>
                </a:cubicBezTo>
                <a:cubicBezTo>
                  <a:pt x="830675" y="621983"/>
                  <a:pt x="829056" y="618363"/>
                  <a:pt x="828008" y="614077"/>
                </a:cubicBezTo>
                <a:lnTo>
                  <a:pt x="808863" y="614172"/>
                </a:lnTo>
                <a:lnTo>
                  <a:pt x="808863" y="614172"/>
                </a:lnTo>
                <a:close/>
                <a:moveTo>
                  <a:pt x="1448181" y="318897"/>
                </a:moveTo>
                <a:lnTo>
                  <a:pt x="1448181" y="182785"/>
                </a:lnTo>
                <a:cubicBezTo>
                  <a:pt x="1448181" y="153734"/>
                  <a:pt x="1436370" y="141827"/>
                  <a:pt x="1415225" y="141827"/>
                </a:cubicBezTo>
                <a:cubicBezTo>
                  <a:pt x="1393984" y="141827"/>
                  <a:pt x="1375601" y="160401"/>
                  <a:pt x="1375601" y="188500"/>
                </a:cubicBezTo>
                <a:lnTo>
                  <a:pt x="1375601" y="318802"/>
                </a:lnTo>
                <a:lnTo>
                  <a:pt x="1301210" y="318802"/>
                </a:lnTo>
                <a:lnTo>
                  <a:pt x="1301210" y="88106"/>
                </a:lnTo>
                <a:lnTo>
                  <a:pt x="1372934" y="88106"/>
                </a:lnTo>
                <a:lnTo>
                  <a:pt x="1372934" y="123349"/>
                </a:lnTo>
                <a:lnTo>
                  <a:pt x="1373696" y="123349"/>
                </a:lnTo>
                <a:cubicBezTo>
                  <a:pt x="1373696" y="123349"/>
                  <a:pt x="1389602" y="81439"/>
                  <a:pt x="1442466" y="81439"/>
                </a:cubicBezTo>
                <a:cubicBezTo>
                  <a:pt x="1495330" y="81439"/>
                  <a:pt x="1523905" y="110109"/>
                  <a:pt x="1523905" y="170021"/>
                </a:cubicBezTo>
                <a:lnTo>
                  <a:pt x="1523905" y="318802"/>
                </a:lnTo>
                <a:lnTo>
                  <a:pt x="1448181" y="318802"/>
                </a:lnTo>
                <a:close/>
                <a:moveTo>
                  <a:pt x="963263" y="318897"/>
                </a:moveTo>
                <a:lnTo>
                  <a:pt x="1051370" y="318897"/>
                </a:lnTo>
                <a:lnTo>
                  <a:pt x="967264" y="174498"/>
                </a:lnTo>
                <a:lnTo>
                  <a:pt x="1048703" y="88202"/>
                </a:lnTo>
                <a:lnTo>
                  <a:pt x="956691" y="88202"/>
                </a:lnTo>
                <a:lnTo>
                  <a:pt x="889826" y="171450"/>
                </a:lnTo>
                <a:lnTo>
                  <a:pt x="889826" y="0"/>
                </a:lnTo>
                <a:lnTo>
                  <a:pt x="816293" y="0"/>
                </a:lnTo>
                <a:lnTo>
                  <a:pt x="816293" y="318897"/>
                </a:lnTo>
                <a:lnTo>
                  <a:pt x="889826" y="318897"/>
                </a:lnTo>
                <a:lnTo>
                  <a:pt x="889826" y="255461"/>
                </a:lnTo>
                <a:lnTo>
                  <a:pt x="915829" y="226886"/>
                </a:lnTo>
                <a:lnTo>
                  <a:pt x="963263" y="318897"/>
                </a:lnTo>
                <a:close/>
                <a:moveTo>
                  <a:pt x="1205770" y="203549"/>
                </a:moveTo>
                <a:cubicBezTo>
                  <a:pt x="1205770" y="245364"/>
                  <a:pt x="1184720" y="266510"/>
                  <a:pt x="1158145" y="266510"/>
                </a:cubicBezTo>
                <a:cubicBezTo>
                  <a:pt x="1131761" y="266510"/>
                  <a:pt x="1110615" y="245364"/>
                  <a:pt x="1110615" y="203549"/>
                </a:cubicBezTo>
                <a:cubicBezTo>
                  <a:pt x="1110615" y="161735"/>
                  <a:pt x="1131761" y="140589"/>
                  <a:pt x="1158145" y="140589"/>
                </a:cubicBezTo>
                <a:cubicBezTo>
                  <a:pt x="1184624" y="140589"/>
                  <a:pt x="1205770" y="161735"/>
                  <a:pt x="1205770" y="203549"/>
                </a:cubicBezTo>
                <a:moveTo>
                  <a:pt x="1033177" y="203549"/>
                </a:moveTo>
                <a:cubicBezTo>
                  <a:pt x="1033177" y="277178"/>
                  <a:pt x="1081564" y="325565"/>
                  <a:pt x="1158145" y="325565"/>
                </a:cubicBezTo>
                <a:cubicBezTo>
                  <a:pt x="1234821" y="325565"/>
                  <a:pt x="1283208" y="277082"/>
                  <a:pt x="1283208" y="203549"/>
                </a:cubicBezTo>
                <a:cubicBezTo>
                  <a:pt x="1283208" y="130016"/>
                  <a:pt x="1234821" y="81534"/>
                  <a:pt x="1158145" y="81534"/>
                </a:cubicBezTo>
                <a:cubicBezTo>
                  <a:pt x="1081564" y="81534"/>
                  <a:pt x="1033177" y="130016"/>
                  <a:pt x="1033177" y="203549"/>
                </a:cubicBezTo>
                <a:moveTo>
                  <a:pt x="605790" y="318897"/>
                </a:moveTo>
                <a:lnTo>
                  <a:pt x="681990" y="318897"/>
                </a:lnTo>
                <a:lnTo>
                  <a:pt x="681990" y="0"/>
                </a:lnTo>
                <a:lnTo>
                  <a:pt x="605790" y="0"/>
                </a:lnTo>
                <a:lnTo>
                  <a:pt x="605790" y="318897"/>
                </a:lnTo>
                <a:close/>
                <a:moveTo>
                  <a:pt x="434816" y="318897"/>
                </a:moveTo>
                <a:lnTo>
                  <a:pt x="511397" y="318897"/>
                </a:lnTo>
                <a:lnTo>
                  <a:pt x="511397" y="217170"/>
                </a:lnTo>
                <a:cubicBezTo>
                  <a:pt x="511397" y="172307"/>
                  <a:pt x="528161" y="155543"/>
                  <a:pt x="564261" y="155543"/>
                </a:cubicBezTo>
                <a:cubicBezTo>
                  <a:pt x="577025" y="155543"/>
                  <a:pt x="588931" y="157353"/>
                  <a:pt x="588931" y="157353"/>
                </a:cubicBezTo>
                <a:lnTo>
                  <a:pt x="588931" y="82868"/>
                </a:lnTo>
                <a:cubicBezTo>
                  <a:pt x="588931" y="82868"/>
                  <a:pt x="582263" y="81534"/>
                  <a:pt x="572262" y="81534"/>
                </a:cubicBezTo>
                <a:cubicBezTo>
                  <a:pt x="519398" y="81534"/>
                  <a:pt x="509683" y="127349"/>
                  <a:pt x="509683" y="127349"/>
                </a:cubicBezTo>
                <a:lnTo>
                  <a:pt x="508825" y="127349"/>
                </a:lnTo>
                <a:lnTo>
                  <a:pt x="508825" y="88106"/>
                </a:lnTo>
                <a:lnTo>
                  <a:pt x="434912" y="88106"/>
                </a:lnTo>
                <a:lnTo>
                  <a:pt x="434912" y="318897"/>
                </a:lnTo>
                <a:close/>
                <a:moveTo>
                  <a:pt x="711041" y="318897"/>
                </a:moveTo>
                <a:lnTo>
                  <a:pt x="787241" y="318897"/>
                </a:lnTo>
                <a:lnTo>
                  <a:pt x="787241" y="88106"/>
                </a:lnTo>
                <a:lnTo>
                  <a:pt x="711041" y="88106"/>
                </a:lnTo>
                <a:lnTo>
                  <a:pt x="711041" y="318897"/>
                </a:lnTo>
                <a:close/>
                <a:moveTo>
                  <a:pt x="711041" y="59912"/>
                </a:moveTo>
                <a:lnTo>
                  <a:pt x="787241" y="59912"/>
                </a:lnTo>
                <a:lnTo>
                  <a:pt x="787241" y="0"/>
                </a:lnTo>
                <a:lnTo>
                  <a:pt x="711041" y="0"/>
                </a:lnTo>
                <a:lnTo>
                  <a:pt x="711041" y="59912"/>
                </a:lnTo>
                <a:close/>
                <a:moveTo>
                  <a:pt x="169069" y="203549"/>
                </a:moveTo>
                <a:cubicBezTo>
                  <a:pt x="169069" y="245364"/>
                  <a:pt x="147923" y="266510"/>
                  <a:pt x="123253" y="266510"/>
                </a:cubicBezTo>
                <a:cubicBezTo>
                  <a:pt x="98584" y="266510"/>
                  <a:pt x="77438" y="245364"/>
                  <a:pt x="77438" y="203549"/>
                </a:cubicBezTo>
                <a:cubicBezTo>
                  <a:pt x="77438" y="161735"/>
                  <a:pt x="98584" y="140589"/>
                  <a:pt x="123253" y="140589"/>
                </a:cubicBezTo>
                <a:cubicBezTo>
                  <a:pt x="147923" y="140589"/>
                  <a:pt x="169069" y="161735"/>
                  <a:pt x="169069" y="203549"/>
                </a:cubicBezTo>
                <a:moveTo>
                  <a:pt x="207836" y="295085"/>
                </a:moveTo>
                <a:cubicBezTo>
                  <a:pt x="228505" y="314516"/>
                  <a:pt x="259366" y="325565"/>
                  <a:pt x="293656" y="325565"/>
                </a:cubicBezTo>
                <a:cubicBezTo>
                  <a:pt x="376904" y="325565"/>
                  <a:pt x="407765" y="277082"/>
                  <a:pt x="414338" y="247174"/>
                </a:cubicBezTo>
                <a:lnTo>
                  <a:pt x="339566" y="247174"/>
                </a:lnTo>
                <a:cubicBezTo>
                  <a:pt x="339566" y="247174"/>
                  <a:pt x="331184" y="270986"/>
                  <a:pt x="296799" y="270986"/>
                </a:cubicBezTo>
                <a:cubicBezTo>
                  <a:pt x="265557" y="270986"/>
                  <a:pt x="250984" y="251555"/>
                  <a:pt x="247936" y="223933"/>
                </a:cubicBezTo>
                <a:lnTo>
                  <a:pt x="415671" y="223933"/>
                </a:lnTo>
                <a:cubicBezTo>
                  <a:pt x="415671" y="223933"/>
                  <a:pt x="416147" y="219932"/>
                  <a:pt x="416147" y="212503"/>
                </a:cubicBezTo>
                <a:cubicBezTo>
                  <a:pt x="416147" y="129254"/>
                  <a:pt x="368522" y="81629"/>
                  <a:pt x="293751" y="81629"/>
                </a:cubicBezTo>
                <a:cubicBezTo>
                  <a:pt x="259461" y="81629"/>
                  <a:pt x="228600" y="92678"/>
                  <a:pt x="207931" y="112014"/>
                </a:cubicBezTo>
                <a:cubicBezTo>
                  <a:pt x="186785" y="92583"/>
                  <a:pt x="157734" y="81629"/>
                  <a:pt x="123444" y="81629"/>
                </a:cubicBezTo>
                <a:cubicBezTo>
                  <a:pt x="48482" y="81534"/>
                  <a:pt x="0" y="130016"/>
                  <a:pt x="0" y="203549"/>
                </a:cubicBezTo>
                <a:cubicBezTo>
                  <a:pt x="0" y="277178"/>
                  <a:pt x="48482" y="325565"/>
                  <a:pt x="123253" y="325565"/>
                </a:cubicBezTo>
                <a:cubicBezTo>
                  <a:pt x="157639" y="325565"/>
                  <a:pt x="186690" y="314516"/>
                  <a:pt x="207836" y="295085"/>
                </a:cubicBezTo>
                <a:moveTo>
                  <a:pt x="247841" y="177070"/>
                </a:moveTo>
                <a:cubicBezTo>
                  <a:pt x="250984" y="153734"/>
                  <a:pt x="265462" y="133445"/>
                  <a:pt x="293656" y="133445"/>
                </a:cubicBezTo>
                <a:cubicBezTo>
                  <a:pt x="321374" y="133445"/>
                  <a:pt x="335947" y="153734"/>
                  <a:pt x="338995" y="177070"/>
                </a:cubicBezTo>
                <a:lnTo>
                  <a:pt x="247841" y="177070"/>
                </a:lnTo>
                <a:close/>
              </a:path>
            </a:pathLst>
          </a:custGeom>
          <a:solidFill>
            <a:srgbClr val="EB0000"/>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02992223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50" r:id="rId20"/>
    <p:sldLayoutId id="2147483751" r:id="rId21"/>
    <p:sldLayoutId id="2147483714" r:id="rId22"/>
    <p:sldLayoutId id="2147483715" r:id="rId23"/>
    <p:sldLayoutId id="2147483718" r:id="rId24"/>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6F86756-FD02-4C15-BFEE-518DB5DB83EB}"/>
              </a:ext>
            </a:extLst>
          </p:cNvPr>
          <p:cNvGraphicFramePr>
            <a:graphicFrameLocks noChangeAspect="1"/>
          </p:cNvGraphicFramePr>
          <p:nvPr userDrawn="1">
            <p:custDataLst>
              <p:tags r:id="rId26"/>
            </p:custDataLst>
            <p:extLst>
              <p:ext uri="{D42A27DB-BD31-4B8C-83A1-F6EECF244321}">
                <p14:modId xmlns:p14="http://schemas.microsoft.com/office/powerpoint/2010/main" val="104712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98" imgH="499" progId="TCLayout.ActiveDocument.1">
                  <p:embed/>
                </p:oleObj>
              </mc:Choice>
              <mc:Fallback>
                <p:oleObj name="think-cell Slide" r:id="rId28" imgW="498" imgH="499"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5779902-06EC-44D5-B421-938EE408A274}"/>
              </a:ext>
            </a:extLst>
          </p:cNvPr>
          <p:cNvSpPr/>
          <p:nvPr userDrawn="1">
            <p:custDataLst>
              <p:tags r:id="rId2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spcBef>
                <a:spcPts val="300"/>
              </a:spcBef>
              <a:spcAft>
                <a:spcPts val="300"/>
              </a:spcAft>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en-US" dirty="0"/>
              <a:t>Click to edit Master title style</a:t>
            </a:r>
            <a:endParaRPr lang="en-US" noProof="0" dirty="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5" name="Fußzeilenplatzhalter 4"/>
          <p:cNvSpPr>
            <a:spLocks noGrp="1"/>
          </p:cNvSpPr>
          <p:nvPr>
            <p:ph type="ftr" sz="quarter" idx="3"/>
          </p:nvPr>
        </p:nvSpPr>
        <p:spPr bwMode="gray">
          <a:xfrm>
            <a:off x="1043744" y="4911725"/>
            <a:ext cx="6838988" cy="104378"/>
          </a:xfrm>
          <a:prstGeom prst="rect">
            <a:avLst/>
          </a:prstGeom>
        </p:spPr>
        <p:txBody>
          <a:bodyPr vert="horz" lIns="0" tIns="0" rIns="0" bIns="0" rtlCol="0" anchor="b"/>
          <a:lstStyle>
            <a:lvl1pPr algn="l">
              <a:defRPr sz="700">
                <a:solidFill>
                  <a:schemeClr val="tx1"/>
                </a:solidFill>
              </a:defRPr>
            </a:lvl1pPr>
          </a:lstStyle>
          <a:p>
            <a:r>
              <a:rPr lang="en-US" dirty="0"/>
              <a:t>File Name</a:t>
            </a:r>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dirty="0"/>
              <a:t>Page </a:t>
            </a:r>
            <a:fld id="{D126E9C2-5A98-4FED-83CF-BD978A28F274}" type="slidenum">
              <a:rPr lang="en-US" smtClean="0"/>
              <a:pPr/>
              <a:t>‹Nr.›</a:t>
            </a:fld>
            <a:endParaRPr lang="en-US" dirty="0"/>
          </a:p>
        </p:txBody>
      </p:sp>
      <p:sp>
        <p:nvSpPr>
          <p:cNvPr id="4" name="Date Placeholder 3"/>
          <p:cNvSpPr>
            <a:spLocks noGrp="1"/>
          </p:cNvSpPr>
          <p:nvPr>
            <p:ph type="dt" sz="half" idx="2"/>
          </p:nvPr>
        </p:nvSpPr>
        <p:spPr bwMode="gray">
          <a:xfrm>
            <a:off x="7885113" y="4911725"/>
            <a:ext cx="900111"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dirty="0"/>
          </a:p>
        </p:txBody>
      </p:sp>
      <p:sp>
        <p:nvSpPr>
          <p:cNvPr id="114"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a:ln>
                  <a:noFill/>
                </a:ln>
                <a:solidFill>
                  <a:schemeClr val="bg2"/>
                </a:solidFill>
                <a:effectLst/>
                <a:uLnTx/>
                <a:uFillTx/>
                <a:latin typeface="Arial" pitchFamily="34" charset="0"/>
                <a:cs typeface="Arial" pitchFamily="34" charset="0"/>
              </a:rPr>
              <a:t>It's not allowed to change the master </a:t>
            </a:r>
          </a:p>
        </p:txBody>
      </p:sp>
      <p:sp>
        <p:nvSpPr>
          <p:cNvPr id="115"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grpSp>
        <p:nvGrpSpPr>
          <p:cNvPr id="116" name="Group 115"/>
          <p:cNvGrpSpPr/>
          <p:nvPr/>
        </p:nvGrpSpPr>
        <p:grpSpPr>
          <a:xfrm>
            <a:off x="-12700" y="-134541"/>
            <a:ext cx="9156700" cy="107156"/>
            <a:chOff x="-12700" y="-134541"/>
            <a:chExt cx="9156700" cy="107156"/>
          </a:xfrm>
        </p:grpSpPr>
        <p:sp>
          <p:nvSpPr>
            <p:cNvPr id="117"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5"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6"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7"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8"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9"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0"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1"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2"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4"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6"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137" name="Group 118"/>
            <p:cNvGrpSpPr>
              <a:grpSpLocks/>
            </p:cNvGrpSpPr>
            <p:nvPr userDrawn="1"/>
          </p:nvGrpSpPr>
          <p:grpSpPr bwMode="gray">
            <a:xfrm>
              <a:off x="357188" y="-80963"/>
              <a:ext cx="8428038" cy="53578"/>
              <a:chOff x="225" y="-63"/>
              <a:chExt cx="5309" cy="45"/>
            </a:xfrm>
          </p:grpSpPr>
          <p:sp>
            <p:nvSpPr>
              <p:cNvPr id="1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16"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169"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0"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3"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4"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5"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176"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177"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8"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9"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grpSp>
      <p:grpSp>
        <p:nvGrpSpPr>
          <p:cNvPr id="241" name="Group 240"/>
          <p:cNvGrpSpPr/>
          <p:nvPr/>
        </p:nvGrpSpPr>
        <p:grpSpPr>
          <a:xfrm>
            <a:off x="-981075" y="404813"/>
            <a:ext cx="952501" cy="4745831"/>
            <a:chOff x="-981075" y="404813"/>
            <a:chExt cx="952501" cy="4745831"/>
          </a:xfrm>
        </p:grpSpPr>
        <p:sp>
          <p:nvSpPr>
            <p:cNvPr id="242"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3"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4"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5"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6"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7"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8"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249"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250"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251"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252"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253"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254"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255"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256"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257"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8"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9"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sp>
        <p:nvSpPr>
          <p:cNvPr id="260"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a:ln>
                  <a:noFill/>
                </a:ln>
                <a:solidFill>
                  <a:schemeClr val="tx1"/>
                </a:solidFill>
                <a:effectLst/>
                <a:uLnTx/>
                <a:uFillTx/>
              </a:rPr>
              <a:t>Version September 2016</a:t>
            </a:r>
          </a:p>
        </p:txBody>
      </p:sp>
      <p:sp>
        <p:nvSpPr>
          <p:cNvPr id="261"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sp>
        <p:nvSpPr>
          <p:cNvPr id="262" name="Line 110"/>
          <p:cNvSpPr>
            <a:spLocks noChangeShapeType="1"/>
          </p:cNvSpPr>
          <p:nvPr/>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3" name="Line 111"/>
          <p:cNvSpPr>
            <a:spLocks noChangeShapeType="1"/>
          </p:cNvSpPr>
          <p:nvPr/>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4" name="Line 112"/>
          <p:cNvSpPr>
            <a:spLocks noChangeShapeType="1"/>
          </p:cNvSpPr>
          <p:nvPr/>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5" name="Line 113"/>
          <p:cNvSpPr>
            <a:spLocks noChangeShapeType="1"/>
          </p:cNvSpPr>
          <p:nvPr/>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6" name="Line 114"/>
          <p:cNvSpPr>
            <a:spLocks noChangeShapeType="1"/>
          </p:cNvSpPr>
          <p:nvPr/>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7" name="Line 115"/>
          <p:cNvSpPr>
            <a:spLocks noChangeShapeType="1"/>
          </p:cNvSpPr>
          <p:nvPr/>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8" name="Line 110"/>
          <p:cNvSpPr>
            <a:spLocks noChangeShapeType="1"/>
          </p:cNvSpPr>
          <p:nvPr/>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9" name="Line 110"/>
          <p:cNvSpPr>
            <a:spLocks noChangeShapeType="1"/>
          </p:cNvSpPr>
          <p:nvPr/>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0" name="Line 110"/>
          <p:cNvSpPr>
            <a:spLocks noChangeShapeType="1"/>
          </p:cNvSpPr>
          <p:nvPr/>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7" name="Line 110"/>
          <p:cNvSpPr>
            <a:spLocks noChangeShapeType="1"/>
          </p:cNvSpPr>
          <p:nvPr/>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8" name="Text Box 129"/>
          <p:cNvSpPr txBox="1">
            <a:spLocks noChangeArrowheads="1"/>
          </p:cNvSpPr>
          <p:nvPr/>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279" name="Group 118"/>
          <p:cNvGrpSpPr>
            <a:grpSpLocks/>
          </p:cNvGrpSpPr>
          <p:nvPr/>
        </p:nvGrpSpPr>
        <p:grpSpPr bwMode="gray">
          <a:xfrm>
            <a:off x="357188" y="5224440"/>
            <a:ext cx="8428038" cy="53578"/>
            <a:chOff x="225" y="-63"/>
            <a:chExt cx="5309" cy="45"/>
          </a:xfrm>
        </p:grpSpPr>
        <p:sp>
          <p:nvSpPr>
            <p:cNvPr id="2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4"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291" name="Text Box 125"/>
          <p:cNvSpPr txBox="1">
            <a:spLocks noChangeArrowheads="1"/>
          </p:cNvSpPr>
          <p:nvPr/>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2" name="Text Box 126"/>
          <p:cNvSpPr txBox="1">
            <a:spLocks noChangeArrowheads="1"/>
          </p:cNvSpPr>
          <p:nvPr/>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3" name="Text Box 127"/>
          <p:cNvSpPr txBox="1">
            <a:spLocks noChangeArrowheads="1"/>
          </p:cNvSpPr>
          <p:nvPr/>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4" name="Text Box 128"/>
          <p:cNvSpPr txBox="1">
            <a:spLocks noChangeArrowheads="1"/>
          </p:cNvSpPr>
          <p:nvPr/>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5" name="Text Box 130"/>
          <p:cNvSpPr txBox="1">
            <a:spLocks noChangeArrowheads="1"/>
          </p:cNvSpPr>
          <p:nvPr/>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296" name="Text Box 125"/>
          <p:cNvSpPr txBox="1">
            <a:spLocks noChangeArrowheads="1"/>
          </p:cNvSpPr>
          <p:nvPr/>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7" name="Text Box 125"/>
          <p:cNvSpPr txBox="1">
            <a:spLocks noChangeArrowheads="1"/>
          </p:cNvSpPr>
          <p:nvPr/>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8" name="Text Box 125"/>
          <p:cNvSpPr txBox="1">
            <a:spLocks noChangeArrowheads="1"/>
          </p:cNvSpPr>
          <p:nvPr/>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9" name="Text Box 125"/>
          <p:cNvSpPr txBox="1">
            <a:spLocks noChangeArrowheads="1"/>
          </p:cNvSpPr>
          <p:nvPr/>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300"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1"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2"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3"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4"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5"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6"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307"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308"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309"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310"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311"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312"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313"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314"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315"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6"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7"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sp>
        <p:nvSpPr>
          <p:cNvPr id="113" name="Graphic 8">
            <a:extLst>
              <a:ext uri="{FF2B5EF4-FFF2-40B4-BE49-F238E27FC236}">
                <a16:creationId xmlns:a16="http://schemas.microsoft.com/office/drawing/2014/main" id="{BF56E81B-F195-48E5-90BD-09CBBFA044B7}"/>
              </a:ext>
            </a:extLst>
          </p:cNvPr>
          <p:cNvSpPr>
            <a:spLocks/>
          </p:cNvSpPr>
          <p:nvPr userDrawn="1"/>
        </p:nvSpPr>
        <p:spPr>
          <a:xfrm>
            <a:off x="7885113" y="216875"/>
            <a:ext cx="900112" cy="388198"/>
          </a:xfrm>
          <a:custGeom>
            <a:avLst/>
            <a:gdLst>
              <a:gd name="connsiteX0" fmla="*/ 28956 w 1523904"/>
              <a:gd name="connsiteY0" fmla="*/ 570929 h 657225"/>
              <a:gd name="connsiteX1" fmla="*/ 28956 w 1523904"/>
              <a:gd name="connsiteY1" fmla="*/ 506540 h 657225"/>
              <a:gd name="connsiteX2" fmla="*/ 32576 w 1523904"/>
              <a:gd name="connsiteY2" fmla="*/ 485680 h 657225"/>
              <a:gd name="connsiteX3" fmla="*/ 42005 w 1523904"/>
              <a:gd name="connsiteY3" fmla="*/ 469011 h 657225"/>
              <a:gd name="connsiteX4" fmla="*/ 56960 w 1523904"/>
              <a:gd name="connsiteY4" fmla="*/ 457962 h 657225"/>
              <a:gd name="connsiteX5" fmla="*/ 77248 w 1523904"/>
              <a:gd name="connsiteY5" fmla="*/ 453771 h 657225"/>
              <a:gd name="connsiteX6" fmla="*/ 96012 w 1523904"/>
              <a:gd name="connsiteY6" fmla="*/ 457295 h 657225"/>
              <a:gd name="connsiteX7" fmla="*/ 108109 w 1523904"/>
              <a:gd name="connsiteY7" fmla="*/ 467106 h 657225"/>
              <a:gd name="connsiteX8" fmla="*/ 114395 w 1523904"/>
              <a:gd name="connsiteY8" fmla="*/ 481965 h 657225"/>
              <a:gd name="connsiteX9" fmla="*/ 116205 w 1523904"/>
              <a:gd name="connsiteY9" fmla="*/ 500063 h 657225"/>
              <a:gd name="connsiteX10" fmla="*/ 116205 w 1523904"/>
              <a:gd name="connsiteY10" fmla="*/ 570738 h 657225"/>
              <a:gd name="connsiteX11" fmla="*/ 134969 w 1523904"/>
              <a:gd name="connsiteY11" fmla="*/ 570738 h 657225"/>
              <a:gd name="connsiteX12" fmla="*/ 134969 w 1523904"/>
              <a:gd name="connsiteY12" fmla="*/ 497110 h 657225"/>
              <a:gd name="connsiteX13" fmla="*/ 132302 w 1523904"/>
              <a:gd name="connsiteY13" fmla="*/ 472345 h 657225"/>
              <a:gd name="connsiteX14" fmla="*/ 123063 w 1523904"/>
              <a:gd name="connsiteY14" fmla="*/ 453866 h 657225"/>
              <a:gd name="connsiteX15" fmla="*/ 105537 w 1523904"/>
              <a:gd name="connsiteY15" fmla="*/ 441960 h 657225"/>
              <a:gd name="connsiteX16" fmla="*/ 78772 w 1523904"/>
              <a:gd name="connsiteY16" fmla="*/ 437769 h 657225"/>
              <a:gd name="connsiteX17" fmla="*/ 48768 w 1523904"/>
              <a:gd name="connsiteY17" fmla="*/ 446342 h 657225"/>
              <a:gd name="connsiteX18" fmla="*/ 29718 w 1523904"/>
              <a:gd name="connsiteY18" fmla="*/ 468725 h 657225"/>
              <a:gd name="connsiteX19" fmla="*/ 29147 w 1523904"/>
              <a:gd name="connsiteY19" fmla="*/ 442150 h 657225"/>
              <a:gd name="connsiteX20" fmla="*/ 10192 w 1523904"/>
              <a:gd name="connsiteY20" fmla="*/ 442150 h 657225"/>
              <a:gd name="connsiteX21" fmla="*/ 10192 w 1523904"/>
              <a:gd name="connsiteY21" fmla="*/ 570643 h 657225"/>
              <a:gd name="connsiteX22" fmla="*/ 28956 w 1523904"/>
              <a:gd name="connsiteY22" fmla="*/ 570929 h 657225"/>
              <a:gd name="connsiteX23" fmla="*/ 28956 w 1523904"/>
              <a:gd name="connsiteY23" fmla="*/ 570929 h 657225"/>
              <a:gd name="connsiteX24" fmla="*/ 189357 w 1523904"/>
              <a:gd name="connsiteY24" fmla="*/ 570929 h 657225"/>
              <a:gd name="connsiteX25" fmla="*/ 184309 w 1523904"/>
              <a:gd name="connsiteY25" fmla="*/ 564928 h 657225"/>
              <a:gd name="connsiteX26" fmla="*/ 175069 w 1523904"/>
              <a:gd name="connsiteY26" fmla="*/ 545592 h 657225"/>
              <a:gd name="connsiteX27" fmla="*/ 172403 w 1523904"/>
              <a:gd name="connsiteY27" fmla="*/ 524351 h 657225"/>
              <a:gd name="connsiteX28" fmla="*/ 290513 w 1523904"/>
              <a:gd name="connsiteY28" fmla="*/ 524351 h 657225"/>
              <a:gd name="connsiteX29" fmla="*/ 287465 w 1523904"/>
              <a:gd name="connsiteY29" fmla="*/ 492824 h 657225"/>
              <a:gd name="connsiteX30" fmla="*/ 275558 w 1523904"/>
              <a:gd name="connsiteY30" fmla="*/ 465106 h 657225"/>
              <a:gd name="connsiteX31" fmla="*/ 254413 w 1523904"/>
              <a:gd name="connsiteY31" fmla="*/ 445484 h 657225"/>
              <a:gd name="connsiteX32" fmla="*/ 222885 w 1523904"/>
              <a:gd name="connsiteY32" fmla="*/ 438055 h 657225"/>
              <a:gd name="connsiteX33" fmla="*/ 191453 w 1523904"/>
              <a:gd name="connsiteY33" fmla="*/ 445199 h 657225"/>
              <a:gd name="connsiteX34" fmla="*/ 170021 w 1523904"/>
              <a:gd name="connsiteY34" fmla="*/ 463677 h 657225"/>
              <a:gd name="connsiteX35" fmla="*/ 157544 w 1523904"/>
              <a:gd name="connsiteY35" fmla="*/ 489585 h 657225"/>
              <a:gd name="connsiteX36" fmla="*/ 153638 w 1523904"/>
              <a:gd name="connsiteY36" fmla="*/ 519303 h 657225"/>
              <a:gd name="connsiteX37" fmla="*/ 157544 w 1523904"/>
              <a:gd name="connsiteY37" fmla="*/ 550545 h 657225"/>
              <a:gd name="connsiteX38" fmla="*/ 166306 w 1523904"/>
              <a:gd name="connsiteY38" fmla="*/ 570833 h 657225"/>
              <a:gd name="connsiteX39" fmla="*/ 189357 w 1523904"/>
              <a:gd name="connsiteY39" fmla="*/ 570929 h 657225"/>
              <a:gd name="connsiteX40" fmla="*/ 280130 w 1523904"/>
              <a:gd name="connsiteY40" fmla="*/ 570929 h 657225"/>
              <a:gd name="connsiteX41" fmla="*/ 289941 w 1523904"/>
              <a:gd name="connsiteY41" fmla="*/ 545497 h 657225"/>
              <a:gd name="connsiteX42" fmla="*/ 271177 w 1523904"/>
              <a:gd name="connsiteY42" fmla="*/ 545497 h 657225"/>
              <a:gd name="connsiteX43" fmla="*/ 258318 w 1523904"/>
              <a:gd name="connsiteY43" fmla="*/ 570833 h 657225"/>
              <a:gd name="connsiteX44" fmla="*/ 280130 w 1523904"/>
              <a:gd name="connsiteY44" fmla="*/ 570929 h 657225"/>
              <a:gd name="connsiteX45" fmla="*/ 338423 w 1523904"/>
              <a:gd name="connsiteY45" fmla="*/ 570929 h 657225"/>
              <a:gd name="connsiteX46" fmla="*/ 331184 w 1523904"/>
              <a:gd name="connsiteY46" fmla="*/ 542544 h 657225"/>
              <a:gd name="connsiteX47" fmla="*/ 331184 w 1523904"/>
              <a:gd name="connsiteY47" fmla="*/ 442532 h 657225"/>
              <a:gd name="connsiteX48" fmla="*/ 312420 w 1523904"/>
              <a:gd name="connsiteY48" fmla="*/ 442532 h 657225"/>
              <a:gd name="connsiteX49" fmla="*/ 312420 w 1523904"/>
              <a:gd name="connsiteY49" fmla="*/ 542258 h 657225"/>
              <a:gd name="connsiteX50" fmla="*/ 315373 w 1523904"/>
              <a:gd name="connsiteY50" fmla="*/ 566642 h 657225"/>
              <a:gd name="connsiteX51" fmla="*/ 316706 w 1523904"/>
              <a:gd name="connsiteY51" fmla="*/ 570929 h 657225"/>
              <a:gd name="connsiteX52" fmla="*/ 338423 w 1523904"/>
              <a:gd name="connsiteY52" fmla="*/ 570929 h 657225"/>
              <a:gd name="connsiteX53" fmla="*/ 418052 w 1523904"/>
              <a:gd name="connsiteY53" fmla="*/ 570929 h 657225"/>
              <a:gd name="connsiteX54" fmla="*/ 419291 w 1523904"/>
              <a:gd name="connsiteY54" fmla="*/ 568452 h 657225"/>
              <a:gd name="connsiteX55" fmla="*/ 419386 w 1523904"/>
              <a:gd name="connsiteY55" fmla="*/ 570929 h 657225"/>
              <a:gd name="connsiteX56" fmla="*/ 437198 w 1523904"/>
              <a:gd name="connsiteY56" fmla="*/ 570929 h 657225"/>
              <a:gd name="connsiteX57" fmla="*/ 437198 w 1523904"/>
              <a:gd name="connsiteY57" fmla="*/ 442532 h 657225"/>
              <a:gd name="connsiteX58" fmla="*/ 418433 w 1523904"/>
              <a:gd name="connsiteY58" fmla="*/ 442532 h 657225"/>
              <a:gd name="connsiteX59" fmla="*/ 418433 w 1523904"/>
              <a:gd name="connsiteY59" fmla="*/ 523208 h 657225"/>
              <a:gd name="connsiteX60" fmla="*/ 415766 w 1523904"/>
              <a:gd name="connsiteY60" fmla="*/ 546164 h 657225"/>
              <a:gd name="connsiteX61" fmla="*/ 407480 w 1523904"/>
              <a:gd name="connsiteY61" fmla="*/ 565785 h 657225"/>
              <a:gd name="connsiteX62" fmla="*/ 403670 w 1523904"/>
              <a:gd name="connsiteY62" fmla="*/ 570929 h 657225"/>
              <a:gd name="connsiteX63" fmla="*/ 418052 w 1523904"/>
              <a:gd name="connsiteY63" fmla="*/ 570929 h 657225"/>
              <a:gd name="connsiteX64" fmla="*/ 485299 w 1523904"/>
              <a:gd name="connsiteY64" fmla="*/ 570929 h 657225"/>
              <a:gd name="connsiteX65" fmla="*/ 485299 w 1523904"/>
              <a:gd name="connsiteY65" fmla="*/ 510350 h 657225"/>
              <a:gd name="connsiteX66" fmla="*/ 487966 w 1523904"/>
              <a:gd name="connsiteY66" fmla="*/ 488061 h 657225"/>
              <a:gd name="connsiteX67" fmla="*/ 495967 w 1523904"/>
              <a:gd name="connsiteY67" fmla="*/ 470154 h 657225"/>
              <a:gd name="connsiteX68" fmla="*/ 510254 w 1523904"/>
              <a:gd name="connsiteY68" fmla="*/ 458248 h 657225"/>
              <a:gd name="connsiteX69" fmla="*/ 531114 w 1523904"/>
              <a:gd name="connsiteY69" fmla="*/ 453771 h 657225"/>
              <a:gd name="connsiteX70" fmla="*/ 546259 w 1523904"/>
              <a:gd name="connsiteY70" fmla="*/ 456724 h 657225"/>
              <a:gd name="connsiteX71" fmla="*/ 556070 w 1523904"/>
              <a:gd name="connsiteY71" fmla="*/ 465106 h 657225"/>
              <a:gd name="connsiteX72" fmla="*/ 561404 w 1523904"/>
              <a:gd name="connsiteY72" fmla="*/ 477298 h 657225"/>
              <a:gd name="connsiteX73" fmla="*/ 563213 w 1523904"/>
              <a:gd name="connsiteY73" fmla="*/ 491871 h 657225"/>
              <a:gd name="connsiteX74" fmla="*/ 563213 w 1523904"/>
              <a:gd name="connsiteY74" fmla="*/ 570833 h 657225"/>
              <a:gd name="connsiteX75" fmla="*/ 581978 w 1523904"/>
              <a:gd name="connsiteY75" fmla="*/ 570833 h 657225"/>
              <a:gd name="connsiteX76" fmla="*/ 581978 w 1523904"/>
              <a:gd name="connsiteY76" fmla="*/ 509111 h 657225"/>
              <a:gd name="connsiteX77" fmla="*/ 583692 w 1523904"/>
              <a:gd name="connsiteY77" fmla="*/ 488537 h 657225"/>
              <a:gd name="connsiteX78" fmla="*/ 590550 w 1523904"/>
              <a:gd name="connsiteY78" fmla="*/ 470725 h 657225"/>
              <a:gd name="connsiteX79" fmla="*/ 603314 w 1523904"/>
              <a:gd name="connsiteY79" fmla="*/ 458534 h 657225"/>
              <a:gd name="connsiteX80" fmla="*/ 623602 w 1523904"/>
              <a:gd name="connsiteY80" fmla="*/ 453771 h 657225"/>
              <a:gd name="connsiteX81" fmla="*/ 651891 w 1523904"/>
              <a:gd name="connsiteY81" fmla="*/ 463868 h 657225"/>
              <a:gd name="connsiteX82" fmla="*/ 659892 w 1523904"/>
              <a:gd name="connsiteY82" fmla="*/ 492728 h 657225"/>
              <a:gd name="connsiteX83" fmla="*/ 659892 w 1523904"/>
              <a:gd name="connsiteY83" fmla="*/ 570833 h 657225"/>
              <a:gd name="connsiteX84" fmla="*/ 678656 w 1523904"/>
              <a:gd name="connsiteY84" fmla="*/ 570833 h 657225"/>
              <a:gd name="connsiteX85" fmla="*/ 678656 w 1523904"/>
              <a:gd name="connsiteY85" fmla="*/ 491871 h 657225"/>
              <a:gd name="connsiteX86" fmla="*/ 627698 w 1523904"/>
              <a:gd name="connsiteY86" fmla="*/ 437960 h 657225"/>
              <a:gd name="connsiteX87" fmla="*/ 599123 w 1523904"/>
              <a:gd name="connsiteY87" fmla="*/ 445389 h 657225"/>
              <a:gd name="connsiteX88" fmla="*/ 578930 w 1523904"/>
              <a:gd name="connsiteY88" fmla="*/ 467963 h 657225"/>
              <a:gd name="connsiteX89" fmla="*/ 562261 w 1523904"/>
              <a:gd name="connsiteY89" fmla="*/ 445389 h 657225"/>
              <a:gd name="connsiteX90" fmla="*/ 534924 w 1523904"/>
              <a:gd name="connsiteY90" fmla="*/ 437960 h 657225"/>
              <a:gd name="connsiteX91" fmla="*/ 503968 w 1523904"/>
              <a:gd name="connsiteY91" fmla="*/ 445961 h 657225"/>
              <a:gd name="connsiteX92" fmla="*/ 484727 w 1523904"/>
              <a:gd name="connsiteY92" fmla="*/ 468344 h 657225"/>
              <a:gd name="connsiteX93" fmla="*/ 483775 w 1523904"/>
              <a:gd name="connsiteY93" fmla="*/ 442436 h 657225"/>
              <a:gd name="connsiteX94" fmla="*/ 466535 w 1523904"/>
              <a:gd name="connsiteY94" fmla="*/ 442436 h 657225"/>
              <a:gd name="connsiteX95" fmla="*/ 466535 w 1523904"/>
              <a:gd name="connsiteY95" fmla="*/ 570929 h 657225"/>
              <a:gd name="connsiteX96" fmla="*/ 485299 w 1523904"/>
              <a:gd name="connsiteY96" fmla="*/ 570929 h 657225"/>
              <a:gd name="connsiteX97" fmla="*/ 717995 w 1523904"/>
              <a:gd name="connsiteY97" fmla="*/ 570929 h 657225"/>
              <a:gd name="connsiteX98" fmla="*/ 715613 w 1523904"/>
              <a:gd name="connsiteY98" fmla="*/ 567309 h 657225"/>
              <a:gd name="connsiteX99" fmla="*/ 712946 w 1523904"/>
              <a:gd name="connsiteY99" fmla="*/ 554450 h 657225"/>
              <a:gd name="connsiteX100" fmla="*/ 719519 w 1523904"/>
              <a:gd name="connsiteY100" fmla="*/ 537210 h 657225"/>
              <a:gd name="connsiteX101" fmla="*/ 736759 w 1523904"/>
              <a:gd name="connsiteY101" fmla="*/ 527590 h 657225"/>
              <a:gd name="connsiteX102" fmla="*/ 759714 w 1523904"/>
              <a:gd name="connsiteY102" fmla="*/ 522827 h 657225"/>
              <a:gd name="connsiteX103" fmla="*/ 784384 w 1523904"/>
              <a:gd name="connsiteY103" fmla="*/ 518922 h 657225"/>
              <a:gd name="connsiteX104" fmla="*/ 793242 w 1523904"/>
              <a:gd name="connsiteY104" fmla="*/ 516826 h 657225"/>
              <a:gd name="connsiteX105" fmla="*/ 800100 w 1523904"/>
              <a:gd name="connsiteY105" fmla="*/ 512064 h 657225"/>
              <a:gd name="connsiteX106" fmla="*/ 800672 w 1523904"/>
              <a:gd name="connsiteY106" fmla="*/ 512064 h 657225"/>
              <a:gd name="connsiteX107" fmla="*/ 800672 w 1523904"/>
              <a:gd name="connsiteY107" fmla="*/ 536448 h 657225"/>
              <a:gd name="connsiteX108" fmla="*/ 796290 w 1523904"/>
              <a:gd name="connsiteY108" fmla="*/ 556736 h 657225"/>
              <a:gd name="connsiteX109" fmla="*/ 785908 w 1523904"/>
              <a:gd name="connsiteY109" fmla="*/ 570833 h 657225"/>
              <a:gd name="connsiteX110" fmla="*/ 800481 w 1523904"/>
              <a:gd name="connsiteY110" fmla="*/ 570833 h 657225"/>
              <a:gd name="connsiteX111" fmla="*/ 801624 w 1523904"/>
              <a:gd name="connsiteY111" fmla="*/ 569214 h 657225"/>
              <a:gd name="connsiteX112" fmla="*/ 801815 w 1523904"/>
              <a:gd name="connsiteY112" fmla="*/ 570738 h 657225"/>
              <a:gd name="connsiteX113" fmla="*/ 819531 w 1523904"/>
              <a:gd name="connsiteY113" fmla="*/ 570738 h 657225"/>
              <a:gd name="connsiteX114" fmla="*/ 819436 w 1523904"/>
              <a:gd name="connsiteY114" fmla="*/ 568928 h 657225"/>
              <a:gd name="connsiteX115" fmla="*/ 819436 w 1523904"/>
              <a:gd name="connsiteY115" fmla="*/ 487299 h 657225"/>
              <a:gd name="connsiteX116" fmla="*/ 814388 w 1523904"/>
              <a:gd name="connsiteY116" fmla="*/ 462248 h 657225"/>
              <a:gd name="connsiteX117" fmla="*/ 801243 w 1523904"/>
              <a:gd name="connsiteY117" fmla="*/ 447104 h 657225"/>
              <a:gd name="connsiteX118" fmla="*/ 783050 w 1523904"/>
              <a:gd name="connsiteY118" fmla="*/ 439960 h 657225"/>
              <a:gd name="connsiteX119" fmla="*/ 762857 w 1523904"/>
              <a:gd name="connsiteY119" fmla="*/ 437864 h 657225"/>
              <a:gd name="connsiteX120" fmla="*/ 738473 w 1523904"/>
              <a:gd name="connsiteY120" fmla="*/ 440817 h 657225"/>
              <a:gd name="connsiteX121" fmla="*/ 719042 w 1523904"/>
              <a:gd name="connsiteY121" fmla="*/ 450056 h 657225"/>
              <a:gd name="connsiteX122" fmla="*/ 706279 w 1523904"/>
              <a:gd name="connsiteY122" fmla="*/ 466058 h 657225"/>
              <a:gd name="connsiteX123" fmla="*/ 700659 w 1523904"/>
              <a:gd name="connsiteY123" fmla="*/ 489299 h 657225"/>
              <a:gd name="connsiteX124" fmla="*/ 719423 w 1523904"/>
              <a:gd name="connsiteY124" fmla="*/ 489299 h 657225"/>
              <a:gd name="connsiteX125" fmla="*/ 731330 w 1523904"/>
              <a:gd name="connsiteY125" fmla="*/ 462153 h 657225"/>
              <a:gd name="connsiteX126" fmla="*/ 760381 w 1523904"/>
              <a:gd name="connsiteY126" fmla="*/ 453581 h 657225"/>
              <a:gd name="connsiteX127" fmla="*/ 775907 w 1523904"/>
              <a:gd name="connsiteY127" fmla="*/ 455009 h 657225"/>
              <a:gd name="connsiteX128" fmla="*/ 788670 w 1523904"/>
              <a:gd name="connsiteY128" fmla="*/ 459772 h 657225"/>
              <a:gd name="connsiteX129" fmla="*/ 797243 w 1523904"/>
              <a:gd name="connsiteY129" fmla="*/ 469583 h 657225"/>
              <a:gd name="connsiteX130" fmla="*/ 800481 w 1523904"/>
              <a:gd name="connsiteY130" fmla="*/ 485108 h 657225"/>
              <a:gd name="connsiteX131" fmla="*/ 798671 w 1523904"/>
              <a:gd name="connsiteY131" fmla="*/ 495205 h 657225"/>
              <a:gd name="connsiteX132" fmla="*/ 794195 w 1523904"/>
              <a:gd name="connsiteY132" fmla="*/ 501396 h 657225"/>
              <a:gd name="connsiteX133" fmla="*/ 786765 w 1523904"/>
              <a:gd name="connsiteY133" fmla="*/ 504349 h 657225"/>
              <a:gd name="connsiteX134" fmla="*/ 776288 w 1523904"/>
              <a:gd name="connsiteY134" fmla="*/ 505873 h 657225"/>
              <a:gd name="connsiteX135" fmla="*/ 746284 w 1523904"/>
              <a:gd name="connsiteY135" fmla="*/ 509683 h 657225"/>
              <a:gd name="connsiteX136" fmla="*/ 719804 w 1523904"/>
              <a:gd name="connsiteY136" fmla="*/ 516255 h 657225"/>
              <a:gd name="connsiteX137" fmla="*/ 701135 w 1523904"/>
              <a:gd name="connsiteY137" fmla="*/ 530257 h 657225"/>
              <a:gd name="connsiteX138" fmla="*/ 693992 w 1523904"/>
              <a:gd name="connsiteY138" fmla="*/ 555308 h 657225"/>
              <a:gd name="connsiteX139" fmla="*/ 695992 w 1523904"/>
              <a:gd name="connsiteY139" fmla="*/ 570548 h 657225"/>
              <a:gd name="connsiteX140" fmla="*/ 717995 w 1523904"/>
              <a:gd name="connsiteY140" fmla="*/ 570929 h 657225"/>
              <a:gd name="connsiteX141" fmla="*/ 888778 w 1523904"/>
              <a:gd name="connsiteY141" fmla="*/ 570929 h 657225"/>
              <a:gd name="connsiteX142" fmla="*/ 877157 w 1523904"/>
              <a:gd name="connsiteY142" fmla="*/ 559880 h 657225"/>
              <a:gd name="connsiteX143" fmla="*/ 868013 w 1523904"/>
              <a:gd name="connsiteY143" fmla="*/ 540163 h 657225"/>
              <a:gd name="connsiteX144" fmla="*/ 865061 w 1523904"/>
              <a:gd name="connsiteY144" fmla="*/ 517589 h 657225"/>
              <a:gd name="connsiteX145" fmla="*/ 867728 w 1523904"/>
              <a:gd name="connsiteY145" fmla="*/ 494348 h 657225"/>
              <a:gd name="connsiteX146" fmla="*/ 876967 w 1523904"/>
              <a:gd name="connsiteY146" fmla="*/ 473774 h 657225"/>
              <a:gd name="connsiteX147" fmla="*/ 892683 w 1523904"/>
              <a:gd name="connsiteY147" fmla="*/ 459486 h 657225"/>
              <a:gd name="connsiteX148" fmla="*/ 915638 w 1523904"/>
              <a:gd name="connsiteY148" fmla="*/ 453866 h 657225"/>
              <a:gd name="connsiteX149" fmla="*/ 938213 w 1523904"/>
              <a:gd name="connsiteY149" fmla="*/ 459486 h 657225"/>
              <a:gd name="connsiteX150" fmla="*/ 953738 w 1523904"/>
              <a:gd name="connsiteY150" fmla="*/ 474345 h 657225"/>
              <a:gd name="connsiteX151" fmla="*/ 962311 w 1523904"/>
              <a:gd name="connsiteY151" fmla="*/ 494919 h 657225"/>
              <a:gd name="connsiteX152" fmla="*/ 964978 w 1523904"/>
              <a:gd name="connsiteY152" fmla="*/ 517589 h 657225"/>
              <a:gd name="connsiteX153" fmla="*/ 961739 w 1523904"/>
              <a:gd name="connsiteY153" fmla="*/ 540163 h 657225"/>
              <a:gd name="connsiteX154" fmla="*/ 952500 w 1523904"/>
              <a:gd name="connsiteY154" fmla="*/ 559880 h 657225"/>
              <a:gd name="connsiteX155" fmla="*/ 941070 w 1523904"/>
              <a:gd name="connsiteY155" fmla="*/ 570929 h 657225"/>
              <a:gd name="connsiteX156" fmla="*/ 959930 w 1523904"/>
              <a:gd name="connsiteY156" fmla="*/ 570929 h 657225"/>
              <a:gd name="connsiteX157" fmla="*/ 964406 w 1523904"/>
              <a:gd name="connsiteY157" fmla="*/ 562832 h 657225"/>
              <a:gd name="connsiteX158" fmla="*/ 964692 w 1523904"/>
              <a:gd name="connsiteY158" fmla="*/ 570929 h 657225"/>
              <a:gd name="connsiteX159" fmla="*/ 983742 w 1523904"/>
              <a:gd name="connsiteY159" fmla="*/ 570929 h 657225"/>
              <a:gd name="connsiteX160" fmla="*/ 983742 w 1523904"/>
              <a:gd name="connsiteY160" fmla="*/ 442532 h 657225"/>
              <a:gd name="connsiteX161" fmla="*/ 964978 w 1523904"/>
              <a:gd name="connsiteY161" fmla="*/ 442532 h 657225"/>
              <a:gd name="connsiteX162" fmla="*/ 964978 w 1523904"/>
              <a:gd name="connsiteY162" fmla="*/ 469106 h 657225"/>
              <a:gd name="connsiteX163" fmla="*/ 956691 w 1523904"/>
              <a:gd name="connsiteY163" fmla="*/ 457105 h 657225"/>
              <a:gd name="connsiteX164" fmla="*/ 945642 w 1523904"/>
              <a:gd name="connsiteY164" fmla="*/ 447294 h 657225"/>
              <a:gd name="connsiteX165" fmla="*/ 931640 w 1523904"/>
              <a:gd name="connsiteY165" fmla="*/ 440436 h 657225"/>
              <a:gd name="connsiteX166" fmla="*/ 915543 w 1523904"/>
              <a:gd name="connsiteY166" fmla="*/ 438055 h 657225"/>
              <a:gd name="connsiteX167" fmla="*/ 885825 w 1523904"/>
              <a:gd name="connsiteY167" fmla="*/ 444341 h 657225"/>
              <a:gd name="connsiteX168" fmla="*/ 864108 w 1523904"/>
              <a:gd name="connsiteY168" fmla="*/ 460915 h 657225"/>
              <a:gd name="connsiteX169" fmla="*/ 850678 w 1523904"/>
              <a:gd name="connsiteY169" fmla="*/ 485680 h 657225"/>
              <a:gd name="connsiteX170" fmla="*/ 846201 w 1523904"/>
              <a:gd name="connsiteY170" fmla="*/ 515493 h 657225"/>
              <a:gd name="connsiteX171" fmla="*/ 850106 w 1523904"/>
              <a:gd name="connsiteY171" fmla="*/ 546449 h 657225"/>
              <a:gd name="connsiteX172" fmla="*/ 861822 w 1523904"/>
              <a:gd name="connsiteY172" fmla="*/ 570929 h 657225"/>
              <a:gd name="connsiteX173" fmla="*/ 888778 w 1523904"/>
              <a:gd name="connsiteY173" fmla="*/ 570929 h 657225"/>
              <a:gd name="connsiteX174" fmla="*/ 271748 w 1523904"/>
              <a:gd name="connsiteY174" fmla="*/ 508635 h 657225"/>
              <a:gd name="connsiteX175" fmla="*/ 172403 w 1523904"/>
              <a:gd name="connsiteY175" fmla="*/ 508635 h 657225"/>
              <a:gd name="connsiteX176" fmla="*/ 177165 w 1523904"/>
              <a:gd name="connsiteY176" fmla="*/ 488442 h 657225"/>
              <a:gd name="connsiteX177" fmla="*/ 187262 w 1523904"/>
              <a:gd name="connsiteY177" fmla="*/ 470821 h 657225"/>
              <a:gd name="connsiteX178" fmla="*/ 202406 w 1523904"/>
              <a:gd name="connsiteY178" fmla="*/ 458629 h 657225"/>
              <a:gd name="connsiteX179" fmla="*/ 222885 w 1523904"/>
              <a:gd name="connsiteY179" fmla="*/ 453866 h 657225"/>
              <a:gd name="connsiteX180" fmla="*/ 243173 w 1523904"/>
              <a:gd name="connsiteY180" fmla="*/ 458629 h 657225"/>
              <a:gd name="connsiteX181" fmla="*/ 258318 w 1523904"/>
              <a:gd name="connsiteY181" fmla="*/ 470821 h 657225"/>
              <a:gd name="connsiteX182" fmla="*/ 267843 w 1523904"/>
              <a:gd name="connsiteY182" fmla="*/ 488061 h 657225"/>
              <a:gd name="connsiteX183" fmla="*/ 271748 w 1523904"/>
              <a:gd name="connsiteY183" fmla="*/ 508635 h 657225"/>
              <a:gd name="connsiteX184" fmla="*/ 10287 w 1523904"/>
              <a:gd name="connsiteY184" fmla="*/ 596170 h 657225"/>
              <a:gd name="connsiteX185" fmla="*/ 29051 w 1523904"/>
              <a:gd name="connsiteY185" fmla="*/ 596170 h 657225"/>
              <a:gd name="connsiteX186" fmla="*/ 29051 w 1523904"/>
              <a:gd name="connsiteY186" fmla="*/ 571024 h 657225"/>
              <a:gd name="connsiteX187" fmla="*/ 10287 w 1523904"/>
              <a:gd name="connsiteY187" fmla="*/ 571024 h 657225"/>
              <a:gd name="connsiteX188" fmla="*/ 10287 w 1523904"/>
              <a:gd name="connsiteY188" fmla="*/ 596170 h 657225"/>
              <a:gd name="connsiteX189" fmla="*/ 116110 w 1523904"/>
              <a:gd name="connsiteY189" fmla="*/ 596170 h 657225"/>
              <a:gd name="connsiteX190" fmla="*/ 134874 w 1523904"/>
              <a:gd name="connsiteY190" fmla="*/ 596170 h 657225"/>
              <a:gd name="connsiteX191" fmla="*/ 134874 w 1523904"/>
              <a:gd name="connsiteY191" fmla="*/ 571024 h 657225"/>
              <a:gd name="connsiteX192" fmla="*/ 116110 w 1523904"/>
              <a:gd name="connsiteY192" fmla="*/ 571024 h 657225"/>
              <a:gd name="connsiteX193" fmla="*/ 116110 w 1523904"/>
              <a:gd name="connsiteY193" fmla="*/ 596170 h 657225"/>
              <a:gd name="connsiteX194" fmla="*/ 166211 w 1523904"/>
              <a:gd name="connsiteY194" fmla="*/ 570929 h 657225"/>
              <a:gd name="connsiteX195" fmla="*/ 170021 w 1523904"/>
              <a:gd name="connsiteY195" fmla="*/ 576548 h 657225"/>
              <a:gd name="connsiteX196" fmla="*/ 191453 w 1523904"/>
              <a:gd name="connsiteY196" fmla="*/ 594074 h 657225"/>
              <a:gd name="connsiteX197" fmla="*/ 222980 w 1523904"/>
              <a:gd name="connsiteY197" fmla="*/ 600266 h 657225"/>
              <a:gd name="connsiteX198" fmla="*/ 267938 w 1523904"/>
              <a:gd name="connsiteY198" fmla="*/ 585978 h 657225"/>
              <a:gd name="connsiteX199" fmla="*/ 280226 w 1523904"/>
              <a:gd name="connsiteY199" fmla="*/ 570929 h 657225"/>
              <a:gd name="connsiteX200" fmla="*/ 258318 w 1523904"/>
              <a:gd name="connsiteY200" fmla="*/ 570929 h 657225"/>
              <a:gd name="connsiteX201" fmla="*/ 255175 w 1523904"/>
              <a:gd name="connsiteY201" fmla="*/ 574072 h 657225"/>
              <a:gd name="connsiteX202" fmla="*/ 222980 w 1523904"/>
              <a:gd name="connsiteY202" fmla="*/ 584740 h 657225"/>
              <a:gd name="connsiteX203" fmla="*/ 200120 w 1523904"/>
              <a:gd name="connsiteY203" fmla="*/ 579025 h 657225"/>
              <a:gd name="connsiteX204" fmla="*/ 189357 w 1523904"/>
              <a:gd name="connsiteY204" fmla="*/ 570833 h 657225"/>
              <a:gd name="connsiteX205" fmla="*/ 166211 w 1523904"/>
              <a:gd name="connsiteY205" fmla="*/ 570833 h 657225"/>
              <a:gd name="connsiteX206" fmla="*/ 316801 w 1523904"/>
              <a:gd name="connsiteY206" fmla="*/ 570929 h 657225"/>
              <a:gd name="connsiteX207" fmla="*/ 324707 w 1523904"/>
              <a:gd name="connsiteY207" fmla="*/ 584835 h 657225"/>
              <a:gd name="connsiteX208" fmla="*/ 341376 w 1523904"/>
              <a:gd name="connsiteY208" fmla="*/ 596170 h 657225"/>
              <a:gd name="connsiteX209" fmla="*/ 366332 w 1523904"/>
              <a:gd name="connsiteY209" fmla="*/ 600361 h 657225"/>
              <a:gd name="connsiteX210" fmla="*/ 397574 w 1523904"/>
              <a:gd name="connsiteY210" fmla="*/ 592360 h 657225"/>
              <a:gd name="connsiteX211" fmla="*/ 418052 w 1523904"/>
              <a:gd name="connsiteY211" fmla="*/ 571024 h 657225"/>
              <a:gd name="connsiteX212" fmla="*/ 403574 w 1523904"/>
              <a:gd name="connsiteY212" fmla="*/ 571024 h 657225"/>
              <a:gd name="connsiteX213" fmla="*/ 393192 w 1523904"/>
              <a:gd name="connsiteY213" fmla="*/ 579882 h 657225"/>
              <a:gd name="connsiteX214" fmla="*/ 372332 w 1523904"/>
              <a:gd name="connsiteY214" fmla="*/ 584930 h 657225"/>
              <a:gd name="connsiteX215" fmla="*/ 340805 w 1523904"/>
              <a:gd name="connsiteY215" fmla="*/ 574262 h 657225"/>
              <a:gd name="connsiteX216" fmla="*/ 338519 w 1523904"/>
              <a:gd name="connsiteY216" fmla="*/ 571024 h 657225"/>
              <a:gd name="connsiteX217" fmla="*/ 316801 w 1523904"/>
              <a:gd name="connsiteY217" fmla="*/ 570929 h 657225"/>
              <a:gd name="connsiteX218" fmla="*/ 419386 w 1523904"/>
              <a:gd name="connsiteY218" fmla="*/ 570929 h 657225"/>
              <a:gd name="connsiteX219" fmla="*/ 419957 w 1523904"/>
              <a:gd name="connsiteY219" fmla="*/ 596075 h 657225"/>
              <a:gd name="connsiteX220" fmla="*/ 437198 w 1523904"/>
              <a:gd name="connsiteY220" fmla="*/ 596075 h 657225"/>
              <a:gd name="connsiteX221" fmla="*/ 437198 w 1523904"/>
              <a:gd name="connsiteY221" fmla="*/ 570929 h 657225"/>
              <a:gd name="connsiteX222" fmla="*/ 419386 w 1523904"/>
              <a:gd name="connsiteY222" fmla="*/ 570929 h 657225"/>
              <a:gd name="connsiteX223" fmla="*/ 466535 w 1523904"/>
              <a:gd name="connsiteY223" fmla="*/ 596170 h 657225"/>
              <a:gd name="connsiteX224" fmla="*/ 485299 w 1523904"/>
              <a:gd name="connsiteY224" fmla="*/ 596170 h 657225"/>
              <a:gd name="connsiteX225" fmla="*/ 485299 w 1523904"/>
              <a:gd name="connsiteY225" fmla="*/ 571024 h 657225"/>
              <a:gd name="connsiteX226" fmla="*/ 466535 w 1523904"/>
              <a:gd name="connsiteY226" fmla="*/ 571024 h 657225"/>
              <a:gd name="connsiteX227" fmla="*/ 466535 w 1523904"/>
              <a:gd name="connsiteY227" fmla="*/ 596170 h 657225"/>
              <a:gd name="connsiteX228" fmla="*/ 563309 w 1523904"/>
              <a:gd name="connsiteY228" fmla="*/ 596170 h 657225"/>
              <a:gd name="connsiteX229" fmla="*/ 582073 w 1523904"/>
              <a:gd name="connsiteY229" fmla="*/ 596170 h 657225"/>
              <a:gd name="connsiteX230" fmla="*/ 582073 w 1523904"/>
              <a:gd name="connsiteY230" fmla="*/ 571024 h 657225"/>
              <a:gd name="connsiteX231" fmla="*/ 563309 w 1523904"/>
              <a:gd name="connsiteY231" fmla="*/ 571024 h 657225"/>
              <a:gd name="connsiteX232" fmla="*/ 563309 w 1523904"/>
              <a:gd name="connsiteY232" fmla="*/ 596170 h 657225"/>
              <a:gd name="connsiteX233" fmla="*/ 659987 w 1523904"/>
              <a:gd name="connsiteY233" fmla="*/ 596170 h 657225"/>
              <a:gd name="connsiteX234" fmla="*/ 678752 w 1523904"/>
              <a:gd name="connsiteY234" fmla="*/ 596170 h 657225"/>
              <a:gd name="connsiteX235" fmla="*/ 678752 w 1523904"/>
              <a:gd name="connsiteY235" fmla="*/ 571024 h 657225"/>
              <a:gd name="connsiteX236" fmla="*/ 659987 w 1523904"/>
              <a:gd name="connsiteY236" fmla="*/ 571024 h 657225"/>
              <a:gd name="connsiteX237" fmla="*/ 659987 w 1523904"/>
              <a:gd name="connsiteY237" fmla="*/ 596170 h 657225"/>
              <a:gd name="connsiteX238" fmla="*/ 696182 w 1523904"/>
              <a:gd name="connsiteY238" fmla="*/ 570929 h 657225"/>
              <a:gd name="connsiteX239" fmla="*/ 698087 w 1523904"/>
              <a:gd name="connsiteY239" fmla="*/ 575882 h 657225"/>
              <a:gd name="connsiteX240" fmla="*/ 709136 w 1523904"/>
              <a:gd name="connsiteY240" fmla="*/ 589883 h 657225"/>
              <a:gd name="connsiteX241" fmla="*/ 725519 w 1523904"/>
              <a:gd name="connsiteY241" fmla="*/ 597599 h 657225"/>
              <a:gd name="connsiteX242" fmla="*/ 745712 w 1523904"/>
              <a:gd name="connsiteY242" fmla="*/ 600266 h 657225"/>
              <a:gd name="connsiteX243" fmla="*/ 765048 w 1523904"/>
              <a:gd name="connsiteY243" fmla="*/ 598170 h 657225"/>
              <a:gd name="connsiteX244" fmla="*/ 779621 w 1523904"/>
              <a:gd name="connsiteY244" fmla="*/ 592169 h 657225"/>
              <a:gd name="connsiteX245" fmla="*/ 791337 w 1523904"/>
              <a:gd name="connsiteY245" fmla="*/ 582644 h 657225"/>
              <a:gd name="connsiteX246" fmla="*/ 800672 w 1523904"/>
              <a:gd name="connsiteY246" fmla="*/ 570738 h 657225"/>
              <a:gd name="connsiteX247" fmla="*/ 786098 w 1523904"/>
              <a:gd name="connsiteY247" fmla="*/ 570833 h 657225"/>
              <a:gd name="connsiteX248" fmla="*/ 784860 w 1523904"/>
              <a:gd name="connsiteY248" fmla="*/ 571881 h 657225"/>
              <a:gd name="connsiteX249" fmla="*/ 767810 w 1523904"/>
              <a:gd name="connsiteY249" fmla="*/ 581406 h 657225"/>
              <a:gd name="connsiteX250" fmla="*/ 747332 w 1523904"/>
              <a:gd name="connsiteY250" fmla="*/ 584645 h 657225"/>
              <a:gd name="connsiteX251" fmla="*/ 734473 w 1523904"/>
              <a:gd name="connsiteY251" fmla="*/ 582549 h 657225"/>
              <a:gd name="connsiteX252" fmla="*/ 723424 w 1523904"/>
              <a:gd name="connsiteY252" fmla="*/ 576548 h 657225"/>
              <a:gd name="connsiteX253" fmla="*/ 717995 w 1523904"/>
              <a:gd name="connsiteY253" fmla="*/ 570643 h 657225"/>
              <a:gd name="connsiteX254" fmla="*/ 696182 w 1523904"/>
              <a:gd name="connsiteY254" fmla="*/ 570929 h 657225"/>
              <a:gd name="connsiteX255" fmla="*/ 801815 w 1523904"/>
              <a:gd name="connsiteY255" fmla="*/ 570929 h 657225"/>
              <a:gd name="connsiteX256" fmla="*/ 802767 w 1523904"/>
              <a:gd name="connsiteY256" fmla="*/ 580358 h 657225"/>
              <a:gd name="connsiteX257" fmla="*/ 806006 w 1523904"/>
              <a:gd name="connsiteY257" fmla="*/ 588740 h 657225"/>
              <a:gd name="connsiteX258" fmla="*/ 812483 w 1523904"/>
              <a:gd name="connsiteY258" fmla="*/ 594360 h 657225"/>
              <a:gd name="connsiteX259" fmla="*/ 824103 w 1523904"/>
              <a:gd name="connsiteY259" fmla="*/ 596170 h 657225"/>
              <a:gd name="connsiteX260" fmla="*/ 830390 w 1523904"/>
              <a:gd name="connsiteY260" fmla="*/ 595884 h 657225"/>
              <a:gd name="connsiteX261" fmla="*/ 836295 w 1523904"/>
              <a:gd name="connsiteY261" fmla="*/ 595027 h 657225"/>
              <a:gd name="connsiteX262" fmla="*/ 836295 w 1523904"/>
              <a:gd name="connsiteY262" fmla="*/ 579120 h 657225"/>
              <a:gd name="connsiteX263" fmla="*/ 830390 w 1523904"/>
              <a:gd name="connsiteY263" fmla="*/ 580358 h 657225"/>
              <a:gd name="connsiteX264" fmla="*/ 819531 w 1523904"/>
              <a:gd name="connsiteY264" fmla="*/ 570929 h 657225"/>
              <a:gd name="connsiteX265" fmla="*/ 801815 w 1523904"/>
              <a:gd name="connsiteY265" fmla="*/ 570929 h 657225"/>
              <a:gd name="connsiteX266" fmla="*/ 861917 w 1523904"/>
              <a:gd name="connsiteY266" fmla="*/ 570929 h 657225"/>
              <a:gd name="connsiteX267" fmla="*/ 862298 w 1523904"/>
              <a:gd name="connsiteY267" fmla="*/ 571405 h 657225"/>
              <a:gd name="connsiteX268" fmla="*/ 883920 w 1523904"/>
              <a:gd name="connsiteY268" fmla="*/ 588455 h 657225"/>
              <a:gd name="connsiteX269" fmla="*/ 915543 w 1523904"/>
              <a:gd name="connsiteY269" fmla="*/ 594360 h 657225"/>
              <a:gd name="connsiteX270" fmla="*/ 944975 w 1523904"/>
              <a:gd name="connsiteY270" fmla="*/ 585788 h 657225"/>
              <a:gd name="connsiteX271" fmla="*/ 959834 w 1523904"/>
              <a:gd name="connsiteY271" fmla="*/ 571024 h 657225"/>
              <a:gd name="connsiteX272" fmla="*/ 940975 w 1523904"/>
              <a:gd name="connsiteY272" fmla="*/ 571024 h 657225"/>
              <a:gd name="connsiteX273" fmla="*/ 936974 w 1523904"/>
              <a:gd name="connsiteY273" fmla="*/ 573596 h 657225"/>
              <a:gd name="connsiteX274" fmla="*/ 915543 w 1523904"/>
              <a:gd name="connsiteY274" fmla="*/ 578644 h 657225"/>
              <a:gd name="connsiteX275" fmla="*/ 892874 w 1523904"/>
              <a:gd name="connsiteY275" fmla="*/ 573596 h 657225"/>
              <a:gd name="connsiteX276" fmla="*/ 888683 w 1523904"/>
              <a:gd name="connsiteY276" fmla="*/ 571024 h 657225"/>
              <a:gd name="connsiteX277" fmla="*/ 861917 w 1523904"/>
              <a:gd name="connsiteY277" fmla="*/ 570929 h 657225"/>
              <a:gd name="connsiteX278" fmla="*/ 964597 w 1523904"/>
              <a:gd name="connsiteY278" fmla="*/ 570929 h 657225"/>
              <a:gd name="connsiteX279" fmla="*/ 964978 w 1523904"/>
              <a:gd name="connsiteY279" fmla="*/ 583597 h 657225"/>
              <a:gd name="connsiteX280" fmla="*/ 960215 w 1523904"/>
              <a:gd name="connsiteY280" fmla="*/ 613982 h 657225"/>
              <a:gd name="connsiteX281" fmla="*/ 979932 w 1523904"/>
              <a:gd name="connsiteY281" fmla="*/ 613982 h 657225"/>
              <a:gd name="connsiteX282" fmla="*/ 983742 w 1523904"/>
              <a:gd name="connsiteY282" fmla="*/ 583597 h 657225"/>
              <a:gd name="connsiteX283" fmla="*/ 983742 w 1523904"/>
              <a:gd name="connsiteY283" fmla="*/ 570929 h 657225"/>
              <a:gd name="connsiteX284" fmla="*/ 964597 w 1523904"/>
              <a:gd name="connsiteY284" fmla="*/ 570929 h 657225"/>
              <a:gd name="connsiteX285" fmla="*/ 871347 w 1523904"/>
              <a:gd name="connsiteY285" fmla="*/ 614077 h 657225"/>
              <a:gd name="connsiteX286" fmla="*/ 870680 w 1523904"/>
              <a:gd name="connsiteY286" fmla="*/ 610743 h 657225"/>
              <a:gd name="connsiteX287" fmla="*/ 851916 w 1523904"/>
              <a:gd name="connsiteY287" fmla="*/ 610743 h 657225"/>
              <a:gd name="connsiteX288" fmla="*/ 852297 w 1523904"/>
              <a:gd name="connsiteY288" fmla="*/ 614077 h 657225"/>
              <a:gd name="connsiteX289" fmla="*/ 871347 w 1523904"/>
              <a:gd name="connsiteY289" fmla="*/ 614077 h 657225"/>
              <a:gd name="connsiteX290" fmla="*/ 852202 w 1523904"/>
              <a:gd name="connsiteY290" fmla="*/ 614077 h 657225"/>
              <a:gd name="connsiteX291" fmla="*/ 858393 w 1523904"/>
              <a:gd name="connsiteY291" fmla="*/ 631603 h 657225"/>
              <a:gd name="connsiteX292" fmla="*/ 872966 w 1523904"/>
              <a:gd name="connsiteY292" fmla="*/ 646176 h 657225"/>
              <a:gd name="connsiteX293" fmla="*/ 892874 w 1523904"/>
              <a:gd name="connsiteY293" fmla="*/ 654558 h 657225"/>
              <a:gd name="connsiteX294" fmla="*/ 915543 w 1523904"/>
              <a:gd name="connsiteY294" fmla="*/ 657225 h 657225"/>
              <a:gd name="connsiteX295" fmla="*/ 947071 w 1523904"/>
              <a:gd name="connsiteY295" fmla="*/ 652082 h 657225"/>
              <a:gd name="connsiteX296" fmla="*/ 968216 w 1523904"/>
              <a:gd name="connsiteY296" fmla="*/ 637508 h 657225"/>
              <a:gd name="connsiteX297" fmla="*/ 979742 w 1523904"/>
              <a:gd name="connsiteY297" fmla="*/ 614267 h 657225"/>
              <a:gd name="connsiteX298" fmla="*/ 979837 w 1523904"/>
              <a:gd name="connsiteY298" fmla="*/ 613982 h 657225"/>
              <a:gd name="connsiteX299" fmla="*/ 960120 w 1523904"/>
              <a:gd name="connsiteY299" fmla="*/ 613982 h 657225"/>
              <a:gd name="connsiteX300" fmla="*/ 953262 w 1523904"/>
              <a:gd name="connsiteY300" fmla="*/ 626459 h 657225"/>
              <a:gd name="connsiteX301" fmla="*/ 915448 w 1523904"/>
              <a:gd name="connsiteY301" fmla="*/ 641318 h 657225"/>
              <a:gd name="connsiteX302" fmla="*/ 900208 w 1523904"/>
              <a:gd name="connsiteY302" fmla="*/ 639604 h 657225"/>
              <a:gd name="connsiteX303" fmla="*/ 886587 w 1523904"/>
              <a:gd name="connsiteY303" fmla="*/ 634460 h 657225"/>
              <a:gd name="connsiteX304" fmla="*/ 876110 w 1523904"/>
              <a:gd name="connsiteY304" fmla="*/ 624935 h 657225"/>
              <a:gd name="connsiteX305" fmla="*/ 871157 w 1523904"/>
              <a:gd name="connsiteY305" fmla="*/ 613982 h 657225"/>
              <a:gd name="connsiteX306" fmla="*/ 852202 w 1523904"/>
              <a:gd name="connsiteY306" fmla="*/ 614077 h 657225"/>
              <a:gd name="connsiteX307" fmla="*/ 852202 w 1523904"/>
              <a:gd name="connsiteY307" fmla="*/ 614077 h 657225"/>
              <a:gd name="connsiteX308" fmla="*/ 1448181 w 1523904"/>
              <a:gd name="connsiteY308" fmla="*/ 318992 h 657225"/>
              <a:gd name="connsiteX309" fmla="*/ 1448181 w 1523904"/>
              <a:gd name="connsiteY309" fmla="*/ 182880 h 657225"/>
              <a:gd name="connsiteX310" fmla="*/ 1415225 w 1523904"/>
              <a:gd name="connsiteY310" fmla="*/ 141827 h 657225"/>
              <a:gd name="connsiteX311" fmla="*/ 1375601 w 1523904"/>
              <a:gd name="connsiteY311" fmla="*/ 188595 h 657225"/>
              <a:gd name="connsiteX312" fmla="*/ 1375601 w 1523904"/>
              <a:gd name="connsiteY312" fmla="*/ 318992 h 657225"/>
              <a:gd name="connsiteX313" fmla="*/ 1301210 w 1523904"/>
              <a:gd name="connsiteY313" fmla="*/ 318992 h 657225"/>
              <a:gd name="connsiteX314" fmla="*/ 1301210 w 1523904"/>
              <a:gd name="connsiteY314" fmla="*/ 88202 h 657225"/>
              <a:gd name="connsiteX315" fmla="*/ 1372934 w 1523904"/>
              <a:gd name="connsiteY315" fmla="*/ 88202 h 657225"/>
              <a:gd name="connsiteX316" fmla="*/ 1372934 w 1523904"/>
              <a:gd name="connsiteY316" fmla="*/ 123444 h 657225"/>
              <a:gd name="connsiteX317" fmla="*/ 1373791 w 1523904"/>
              <a:gd name="connsiteY317" fmla="*/ 123444 h 657225"/>
              <a:gd name="connsiteX318" fmla="*/ 1442466 w 1523904"/>
              <a:gd name="connsiteY318" fmla="*/ 81534 h 657225"/>
              <a:gd name="connsiteX319" fmla="*/ 1523905 w 1523904"/>
              <a:gd name="connsiteY319" fmla="*/ 170212 h 657225"/>
              <a:gd name="connsiteX320" fmla="*/ 1523905 w 1523904"/>
              <a:gd name="connsiteY320" fmla="*/ 319088 h 657225"/>
              <a:gd name="connsiteX321" fmla="*/ 1448181 w 1523904"/>
              <a:gd name="connsiteY321" fmla="*/ 318992 h 657225"/>
              <a:gd name="connsiteX322" fmla="*/ 1448181 w 1523904"/>
              <a:gd name="connsiteY322" fmla="*/ 318992 h 657225"/>
              <a:gd name="connsiteX323" fmla="*/ 963359 w 1523904"/>
              <a:gd name="connsiteY323" fmla="*/ 318992 h 657225"/>
              <a:gd name="connsiteX324" fmla="*/ 1051465 w 1523904"/>
              <a:gd name="connsiteY324" fmla="*/ 318992 h 657225"/>
              <a:gd name="connsiteX325" fmla="*/ 967359 w 1523904"/>
              <a:gd name="connsiteY325" fmla="*/ 174498 h 657225"/>
              <a:gd name="connsiteX326" fmla="*/ 1048798 w 1523904"/>
              <a:gd name="connsiteY326" fmla="*/ 88202 h 657225"/>
              <a:gd name="connsiteX327" fmla="*/ 956786 w 1523904"/>
              <a:gd name="connsiteY327" fmla="*/ 88202 h 657225"/>
              <a:gd name="connsiteX328" fmla="*/ 889921 w 1523904"/>
              <a:gd name="connsiteY328" fmla="*/ 171450 h 657225"/>
              <a:gd name="connsiteX329" fmla="*/ 889921 w 1523904"/>
              <a:gd name="connsiteY329" fmla="*/ 0 h 657225"/>
              <a:gd name="connsiteX330" fmla="*/ 816293 w 1523904"/>
              <a:gd name="connsiteY330" fmla="*/ 0 h 657225"/>
              <a:gd name="connsiteX331" fmla="*/ 816293 w 1523904"/>
              <a:gd name="connsiteY331" fmla="*/ 318992 h 657225"/>
              <a:gd name="connsiteX332" fmla="*/ 889921 w 1523904"/>
              <a:gd name="connsiteY332" fmla="*/ 318992 h 657225"/>
              <a:gd name="connsiteX333" fmla="*/ 889921 w 1523904"/>
              <a:gd name="connsiteY333" fmla="*/ 255556 h 657225"/>
              <a:gd name="connsiteX334" fmla="*/ 915924 w 1523904"/>
              <a:gd name="connsiteY334" fmla="*/ 226981 h 657225"/>
              <a:gd name="connsiteX335" fmla="*/ 963359 w 1523904"/>
              <a:gd name="connsiteY335" fmla="*/ 318992 h 657225"/>
              <a:gd name="connsiteX336" fmla="*/ 1205770 w 1523904"/>
              <a:gd name="connsiteY336" fmla="*/ 203644 h 657225"/>
              <a:gd name="connsiteX337" fmla="*/ 1158240 w 1523904"/>
              <a:gd name="connsiteY337" fmla="*/ 266605 h 657225"/>
              <a:gd name="connsiteX338" fmla="*/ 1110710 w 1523904"/>
              <a:gd name="connsiteY338" fmla="*/ 203644 h 657225"/>
              <a:gd name="connsiteX339" fmla="*/ 1158240 w 1523904"/>
              <a:gd name="connsiteY339" fmla="*/ 140589 h 657225"/>
              <a:gd name="connsiteX340" fmla="*/ 1205770 w 1523904"/>
              <a:gd name="connsiteY340" fmla="*/ 203644 h 657225"/>
              <a:gd name="connsiteX341" fmla="*/ 1033177 w 1523904"/>
              <a:gd name="connsiteY341" fmla="*/ 203644 h 657225"/>
              <a:gd name="connsiteX342" fmla="*/ 1158145 w 1523904"/>
              <a:gd name="connsiteY342" fmla="*/ 325660 h 657225"/>
              <a:gd name="connsiteX343" fmla="*/ 1283208 w 1523904"/>
              <a:gd name="connsiteY343" fmla="*/ 203644 h 657225"/>
              <a:gd name="connsiteX344" fmla="*/ 1158145 w 1523904"/>
              <a:gd name="connsiteY344" fmla="*/ 81534 h 657225"/>
              <a:gd name="connsiteX345" fmla="*/ 1033177 w 1523904"/>
              <a:gd name="connsiteY345" fmla="*/ 203644 h 657225"/>
              <a:gd name="connsiteX346" fmla="*/ 605790 w 1523904"/>
              <a:gd name="connsiteY346" fmla="*/ 318992 h 657225"/>
              <a:gd name="connsiteX347" fmla="*/ 681990 w 1523904"/>
              <a:gd name="connsiteY347" fmla="*/ 318992 h 657225"/>
              <a:gd name="connsiteX348" fmla="*/ 681990 w 1523904"/>
              <a:gd name="connsiteY348" fmla="*/ 0 h 657225"/>
              <a:gd name="connsiteX349" fmla="*/ 605790 w 1523904"/>
              <a:gd name="connsiteY349" fmla="*/ 0 h 657225"/>
              <a:gd name="connsiteX350" fmla="*/ 605790 w 1523904"/>
              <a:gd name="connsiteY350" fmla="*/ 318992 h 657225"/>
              <a:gd name="connsiteX351" fmla="*/ 434816 w 1523904"/>
              <a:gd name="connsiteY351" fmla="*/ 318992 h 657225"/>
              <a:gd name="connsiteX352" fmla="*/ 511493 w 1523904"/>
              <a:gd name="connsiteY352" fmla="*/ 318992 h 657225"/>
              <a:gd name="connsiteX353" fmla="*/ 511493 w 1523904"/>
              <a:gd name="connsiteY353" fmla="*/ 217265 h 657225"/>
              <a:gd name="connsiteX354" fmla="*/ 564261 w 1523904"/>
              <a:gd name="connsiteY354" fmla="*/ 155543 h 657225"/>
              <a:gd name="connsiteX355" fmla="*/ 588931 w 1523904"/>
              <a:gd name="connsiteY355" fmla="*/ 157353 h 657225"/>
              <a:gd name="connsiteX356" fmla="*/ 588931 w 1523904"/>
              <a:gd name="connsiteY356" fmla="*/ 82868 h 657225"/>
              <a:gd name="connsiteX357" fmla="*/ 572262 w 1523904"/>
              <a:gd name="connsiteY357" fmla="*/ 81534 h 657225"/>
              <a:gd name="connsiteX358" fmla="*/ 509683 w 1523904"/>
              <a:gd name="connsiteY358" fmla="*/ 127445 h 657225"/>
              <a:gd name="connsiteX359" fmla="*/ 508825 w 1523904"/>
              <a:gd name="connsiteY359" fmla="*/ 127445 h 657225"/>
              <a:gd name="connsiteX360" fmla="*/ 508825 w 1523904"/>
              <a:gd name="connsiteY360" fmla="*/ 88202 h 657225"/>
              <a:gd name="connsiteX361" fmla="*/ 434816 w 1523904"/>
              <a:gd name="connsiteY361" fmla="*/ 88202 h 657225"/>
              <a:gd name="connsiteX362" fmla="*/ 434816 w 1523904"/>
              <a:gd name="connsiteY362" fmla="*/ 318992 h 657225"/>
              <a:gd name="connsiteX363" fmla="*/ 711041 w 1523904"/>
              <a:gd name="connsiteY363" fmla="*/ 318992 h 657225"/>
              <a:gd name="connsiteX364" fmla="*/ 787241 w 1523904"/>
              <a:gd name="connsiteY364" fmla="*/ 318992 h 657225"/>
              <a:gd name="connsiteX365" fmla="*/ 787241 w 1523904"/>
              <a:gd name="connsiteY365" fmla="*/ 88202 h 657225"/>
              <a:gd name="connsiteX366" fmla="*/ 711041 w 1523904"/>
              <a:gd name="connsiteY366" fmla="*/ 88202 h 657225"/>
              <a:gd name="connsiteX367" fmla="*/ 711041 w 1523904"/>
              <a:gd name="connsiteY367" fmla="*/ 318992 h 657225"/>
              <a:gd name="connsiteX368" fmla="*/ 711041 w 1523904"/>
              <a:gd name="connsiteY368" fmla="*/ 59912 h 657225"/>
              <a:gd name="connsiteX369" fmla="*/ 787241 w 1523904"/>
              <a:gd name="connsiteY369" fmla="*/ 59912 h 657225"/>
              <a:gd name="connsiteX370" fmla="*/ 787241 w 1523904"/>
              <a:gd name="connsiteY370" fmla="*/ 0 h 657225"/>
              <a:gd name="connsiteX371" fmla="*/ 711041 w 1523904"/>
              <a:gd name="connsiteY371" fmla="*/ 0 h 657225"/>
              <a:gd name="connsiteX372" fmla="*/ 711041 w 1523904"/>
              <a:gd name="connsiteY372" fmla="*/ 59912 h 657225"/>
              <a:gd name="connsiteX373" fmla="*/ 169069 w 1523904"/>
              <a:gd name="connsiteY373" fmla="*/ 203644 h 657225"/>
              <a:gd name="connsiteX374" fmla="*/ 123349 w 1523904"/>
              <a:gd name="connsiteY374" fmla="*/ 266605 h 657225"/>
              <a:gd name="connsiteX375" fmla="*/ 77534 w 1523904"/>
              <a:gd name="connsiteY375" fmla="*/ 203644 h 657225"/>
              <a:gd name="connsiteX376" fmla="*/ 123349 w 1523904"/>
              <a:gd name="connsiteY376" fmla="*/ 140589 h 657225"/>
              <a:gd name="connsiteX377" fmla="*/ 169069 w 1523904"/>
              <a:gd name="connsiteY377" fmla="*/ 203644 h 657225"/>
              <a:gd name="connsiteX378" fmla="*/ 207836 w 1523904"/>
              <a:gd name="connsiteY378" fmla="*/ 295180 h 657225"/>
              <a:gd name="connsiteX379" fmla="*/ 293656 w 1523904"/>
              <a:gd name="connsiteY379" fmla="*/ 325565 h 657225"/>
              <a:gd name="connsiteX380" fmla="*/ 414338 w 1523904"/>
              <a:gd name="connsiteY380" fmla="*/ 247079 h 657225"/>
              <a:gd name="connsiteX381" fmla="*/ 339471 w 1523904"/>
              <a:gd name="connsiteY381" fmla="*/ 247079 h 657225"/>
              <a:gd name="connsiteX382" fmla="*/ 296704 w 1523904"/>
              <a:gd name="connsiteY382" fmla="*/ 270891 h 657225"/>
              <a:gd name="connsiteX383" fmla="*/ 247841 w 1523904"/>
              <a:gd name="connsiteY383" fmla="*/ 223742 h 657225"/>
              <a:gd name="connsiteX384" fmla="*/ 415576 w 1523904"/>
              <a:gd name="connsiteY384" fmla="*/ 223742 h 657225"/>
              <a:gd name="connsiteX385" fmla="*/ 416052 w 1523904"/>
              <a:gd name="connsiteY385" fmla="*/ 212312 h 657225"/>
              <a:gd name="connsiteX386" fmla="*/ 293561 w 1523904"/>
              <a:gd name="connsiteY386" fmla="*/ 81344 h 657225"/>
              <a:gd name="connsiteX387" fmla="*/ 207740 w 1523904"/>
              <a:gd name="connsiteY387" fmla="*/ 111728 h 657225"/>
              <a:gd name="connsiteX388" fmla="*/ 123253 w 1523904"/>
              <a:gd name="connsiteY388" fmla="*/ 81344 h 657225"/>
              <a:gd name="connsiteX389" fmla="*/ 0 w 1523904"/>
              <a:gd name="connsiteY389" fmla="*/ 203644 h 657225"/>
              <a:gd name="connsiteX390" fmla="*/ 123349 w 1523904"/>
              <a:gd name="connsiteY390" fmla="*/ 325660 h 657225"/>
              <a:gd name="connsiteX391" fmla="*/ 207836 w 1523904"/>
              <a:gd name="connsiteY391" fmla="*/ 295180 h 657225"/>
              <a:gd name="connsiteX392" fmla="*/ 247841 w 1523904"/>
              <a:gd name="connsiteY392" fmla="*/ 177165 h 657225"/>
              <a:gd name="connsiteX393" fmla="*/ 293656 w 1523904"/>
              <a:gd name="connsiteY393" fmla="*/ 133541 h 657225"/>
              <a:gd name="connsiteX394" fmla="*/ 338995 w 1523904"/>
              <a:gd name="connsiteY394" fmla="*/ 177165 h 657225"/>
              <a:gd name="connsiteX395" fmla="*/ 247841 w 1523904"/>
              <a:gd name="connsiteY395" fmla="*/ 17716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Lst>
            <a:rect l="l" t="t" r="r" b="b"/>
            <a:pathLst>
              <a:path w="1523904" h="657225">
                <a:moveTo>
                  <a:pt x="28956" y="570929"/>
                </a:moveTo>
                <a:lnTo>
                  <a:pt x="28956" y="506540"/>
                </a:lnTo>
                <a:cubicBezTo>
                  <a:pt x="29147" y="499015"/>
                  <a:pt x="30290" y="491966"/>
                  <a:pt x="32576" y="485680"/>
                </a:cubicBezTo>
                <a:cubicBezTo>
                  <a:pt x="34862" y="479108"/>
                  <a:pt x="38100" y="473583"/>
                  <a:pt x="42005" y="469011"/>
                </a:cubicBezTo>
                <a:cubicBezTo>
                  <a:pt x="46196" y="464153"/>
                  <a:pt x="51149" y="460534"/>
                  <a:pt x="56960" y="457962"/>
                </a:cubicBezTo>
                <a:cubicBezTo>
                  <a:pt x="62960" y="455200"/>
                  <a:pt x="69628" y="453771"/>
                  <a:pt x="77248" y="453771"/>
                </a:cubicBezTo>
                <a:cubicBezTo>
                  <a:pt x="84773" y="453771"/>
                  <a:pt x="91059" y="455009"/>
                  <a:pt x="96012" y="457295"/>
                </a:cubicBezTo>
                <a:cubicBezTo>
                  <a:pt x="101060" y="459676"/>
                  <a:pt x="105156" y="462915"/>
                  <a:pt x="108109" y="467106"/>
                </a:cubicBezTo>
                <a:cubicBezTo>
                  <a:pt x="111157" y="471297"/>
                  <a:pt x="113157" y="476250"/>
                  <a:pt x="114395" y="481965"/>
                </a:cubicBezTo>
                <a:cubicBezTo>
                  <a:pt x="115634" y="487490"/>
                  <a:pt x="116205" y="493586"/>
                  <a:pt x="116205" y="500063"/>
                </a:cubicBezTo>
                <a:lnTo>
                  <a:pt x="116205" y="570738"/>
                </a:lnTo>
                <a:lnTo>
                  <a:pt x="134969" y="570738"/>
                </a:lnTo>
                <a:lnTo>
                  <a:pt x="134969" y="497110"/>
                </a:lnTo>
                <a:cubicBezTo>
                  <a:pt x="134969" y="487966"/>
                  <a:pt x="134017" y="479679"/>
                  <a:pt x="132302" y="472345"/>
                </a:cubicBezTo>
                <a:cubicBezTo>
                  <a:pt x="130493" y="465011"/>
                  <a:pt x="127445" y="458819"/>
                  <a:pt x="123063" y="453866"/>
                </a:cubicBezTo>
                <a:cubicBezTo>
                  <a:pt x="118777" y="448723"/>
                  <a:pt x="112871" y="444722"/>
                  <a:pt x="105537" y="441960"/>
                </a:cubicBezTo>
                <a:cubicBezTo>
                  <a:pt x="98393" y="439198"/>
                  <a:pt x="89535" y="437769"/>
                  <a:pt x="78772" y="437769"/>
                </a:cubicBezTo>
                <a:cubicBezTo>
                  <a:pt x="67913" y="437769"/>
                  <a:pt x="57912" y="440722"/>
                  <a:pt x="48768" y="446342"/>
                </a:cubicBezTo>
                <a:cubicBezTo>
                  <a:pt x="39624" y="451866"/>
                  <a:pt x="33338" y="459391"/>
                  <a:pt x="29718" y="468725"/>
                </a:cubicBezTo>
                <a:lnTo>
                  <a:pt x="29147" y="442150"/>
                </a:lnTo>
                <a:lnTo>
                  <a:pt x="10192" y="442150"/>
                </a:lnTo>
                <a:lnTo>
                  <a:pt x="10192" y="570643"/>
                </a:lnTo>
                <a:lnTo>
                  <a:pt x="28956" y="570929"/>
                </a:lnTo>
                <a:lnTo>
                  <a:pt x="28956" y="570929"/>
                </a:lnTo>
                <a:close/>
                <a:moveTo>
                  <a:pt x="189357" y="570929"/>
                </a:moveTo>
                <a:lnTo>
                  <a:pt x="184309" y="564928"/>
                </a:lnTo>
                <a:cubicBezTo>
                  <a:pt x="180118" y="559213"/>
                  <a:pt x="177070" y="552736"/>
                  <a:pt x="175069" y="545592"/>
                </a:cubicBezTo>
                <a:cubicBezTo>
                  <a:pt x="173260" y="538258"/>
                  <a:pt x="172403" y="531209"/>
                  <a:pt x="172403" y="524351"/>
                </a:cubicBezTo>
                <a:lnTo>
                  <a:pt x="290513" y="524351"/>
                </a:lnTo>
                <a:cubicBezTo>
                  <a:pt x="290894" y="513683"/>
                  <a:pt x="289941" y="503111"/>
                  <a:pt x="287465" y="492824"/>
                </a:cubicBezTo>
                <a:cubicBezTo>
                  <a:pt x="285083" y="482346"/>
                  <a:pt x="281178" y="473107"/>
                  <a:pt x="275558" y="465106"/>
                </a:cubicBezTo>
                <a:cubicBezTo>
                  <a:pt x="270224" y="457010"/>
                  <a:pt x="263176" y="450437"/>
                  <a:pt x="254413" y="445484"/>
                </a:cubicBezTo>
                <a:cubicBezTo>
                  <a:pt x="245650" y="440531"/>
                  <a:pt x="235268" y="438055"/>
                  <a:pt x="222885" y="438055"/>
                </a:cubicBezTo>
                <a:cubicBezTo>
                  <a:pt x="210788" y="438055"/>
                  <a:pt x="200311" y="440436"/>
                  <a:pt x="191453" y="445199"/>
                </a:cubicBezTo>
                <a:cubicBezTo>
                  <a:pt x="182690" y="449771"/>
                  <a:pt x="175546" y="455867"/>
                  <a:pt x="170021" y="463677"/>
                </a:cubicBezTo>
                <a:cubicBezTo>
                  <a:pt x="164402" y="471202"/>
                  <a:pt x="160306" y="479774"/>
                  <a:pt x="157544" y="489585"/>
                </a:cubicBezTo>
                <a:cubicBezTo>
                  <a:pt x="154972" y="499300"/>
                  <a:pt x="153638" y="509207"/>
                  <a:pt x="153638" y="519303"/>
                </a:cubicBezTo>
                <a:cubicBezTo>
                  <a:pt x="153638" y="530257"/>
                  <a:pt x="154972" y="540639"/>
                  <a:pt x="157544" y="550545"/>
                </a:cubicBezTo>
                <a:cubicBezTo>
                  <a:pt x="159639" y="557975"/>
                  <a:pt x="162497" y="564737"/>
                  <a:pt x="166306" y="570833"/>
                </a:cubicBezTo>
                <a:lnTo>
                  <a:pt x="189357" y="570929"/>
                </a:lnTo>
                <a:close/>
                <a:moveTo>
                  <a:pt x="280130" y="570929"/>
                </a:moveTo>
                <a:cubicBezTo>
                  <a:pt x="284512" y="563690"/>
                  <a:pt x="287655" y="555212"/>
                  <a:pt x="289941" y="545497"/>
                </a:cubicBezTo>
                <a:lnTo>
                  <a:pt x="271177" y="545497"/>
                </a:lnTo>
                <a:cubicBezTo>
                  <a:pt x="268605" y="555689"/>
                  <a:pt x="264319" y="564166"/>
                  <a:pt x="258318" y="570833"/>
                </a:cubicBezTo>
                <a:lnTo>
                  <a:pt x="280130" y="570929"/>
                </a:lnTo>
                <a:close/>
                <a:moveTo>
                  <a:pt x="338423" y="570929"/>
                </a:moveTo>
                <a:cubicBezTo>
                  <a:pt x="333947" y="563880"/>
                  <a:pt x="331565" y="554450"/>
                  <a:pt x="331184" y="542544"/>
                </a:cubicBezTo>
                <a:lnTo>
                  <a:pt x="331184" y="442532"/>
                </a:lnTo>
                <a:lnTo>
                  <a:pt x="312420" y="442532"/>
                </a:lnTo>
                <a:lnTo>
                  <a:pt x="312420" y="542258"/>
                </a:lnTo>
                <a:cubicBezTo>
                  <a:pt x="312420" y="551402"/>
                  <a:pt x="313468" y="559594"/>
                  <a:pt x="315373" y="566642"/>
                </a:cubicBezTo>
                <a:lnTo>
                  <a:pt x="316706" y="570929"/>
                </a:lnTo>
                <a:lnTo>
                  <a:pt x="338423" y="570929"/>
                </a:lnTo>
                <a:close/>
                <a:moveTo>
                  <a:pt x="418052" y="570929"/>
                </a:moveTo>
                <a:lnTo>
                  <a:pt x="419291" y="568452"/>
                </a:lnTo>
                <a:lnTo>
                  <a:pt x="419386" y="570929"/>
                </a:lnTo>
                <a:lnTo>
                  <a:pt x="437198" y="570929"/>
                </a:lnTo>
                <a:lnTo>
                  <a:pt x="437198" y="442532"/>
                </a:lnTo>
                <a:lnTo>
                  <a:pt x="418433" y="442532"/>
                </a:lnTo>
                <a:lnTo>
                  <a:pt x="418433" y="523208"/>
                </a:lnTo>
                <a:cubicBezTo>
                  <a:pt x="418433" y="530924"/>
                  <a:pt x="417576" y="538639"/>
                  <a:pt x="415766" y="546164"/>
                </a:cubicBezTo>
                <a:cubicBezTo>
                  <a:pt x="414052" y="553498"/>
                  <a:pt x="411194" y="560070"/>
                  <a:pt x="407480" y="565785"/>
                </a:cubicBezTo>
                <a:lnTo>
                  <a:pt x="403670" y="570929"/>
                </a:lnTo>
                <a:lnTo>
                  <a:pt x="418052" y="570929"/>
                </a:lnTo>
                <a:close/>
                <a:moveTo>
                  <a:pt x="485299" y="570929"/>
                </a:moveTo>
                <a:lnTo>
                  <a:pt x="485299" y="510350"/>
                </a:lnTo>
                <a:cubicBezTo>
                  <a:pt x="485299" y="502253"/>
                  <a:pt x="486156" y="494729"/>
                  <a:pt x="487966" y="488061"/>
                </a:cubicBezTo>
                <a:cubicBezTo>
                  <a:pt x="489775" y="481108"/>
                  <a:pt x="492443" y="475107"/>
                  <a:pt x="495967" y="470154"/>
                </a:cubicBezTo>
                <a:cubicBezTo>
                  <a:pt x="499777" y="465011"/>
                  <a:pt x="504539" y="461010"/>
                  <a:pt x="510254" y="458248"/>
                </a:cubicBezTo>
                <a:cubicBezTo>
                  <a:pt x="516255" y="455295"/>
                  <a:pt x="523113" y="453771"/>
                  <a:pt x="531114" y="453771"/>
                </a:cubicBezTo>
                <a:cubicBezTo>
                  <a:pt x="537020" y="453771"/>
                  <a:pt x="542068" y="454724"/>
                  <a:pt x="546259" y="456724"/>
                </a:cubicBezTo>
                <a:cubicBezTo>
                  <a:pt x="550450" y="458724"/>
                  <a:pt x="553688" y="461582"/>
                  <a:pt x="556070" y="465106"/>
                </a:cubicBezTo>
                <a:cubicBezTo>
                  <a:pt x="558641" y="468535"/>
                  <a:pt x="560451" y="472535"/>
                  <a:pt x="561404" y="477298"/>
                </a:cubicBezTo>
                <a:cubicBezTo>
                  <a:pt x="562642" y="481870"/>
                  <a:pt x="563213" y="486728"/>
                  <a:pt x="563213" y="491871"/>
                </a:cubicBezTo>
                <a:lnTo>
                  <a:pt x="563213" y="570833"/>
                </a:lnTo>
                <a:lnTo>
                  <a:pt x="581978" y="570833"/>
                </a:lnTo>
                <a:lnTo>
                  <a:pt x="581978" y="509111"/>
                </a:lnTo>
                <a:cubicBezTo>
                  <a:pt x="581978" y="501968"/>
                  <a:pt x="582549" y="495110"/>
                  <a:pt x="583692" y="488537"/>
                </a:cubicBezTo>
                <a:cubicBezTo>
                  <a:pt x="585121" y="481775"/>
                  <a:pt x="587312" y="475869"/>
                  <a:pt x="590550" y="470725"/>
                </a:cubicBezTo>
                <a:cubicBezTo>
                  <a:pt x="593693" y="465582"/>
                  <a:pt x="597980" y="461486"/>
                  <a:pt x="603314" y="458534"/>
                </a:cubicBezTo>
                <a:cubicBezTo>
                  <a:pt x="608648" y="455295"/>
                  <a:pt x="615506" y="453771"/>
                  <a:pt x="623602" y="453771"/>
                </a:cubicBezTo>
                <a:cubicBezTo>
                  <a:pt x="637127" y="453771"/>
                  <a:pt x="646462" y="457105"/>
                  <a:pt x="651891" y="463868"/>
                </a:cubicBezTo>
                <a:cubicBezTo>
                  <a:pt x="657225" y="470440"/>
                  <a:pt x="659892" y="480060"/>
                  <a:pt x="659892" y="492728"/>
                </a:cubicBezTo>
                <a:lnTo>
                  <a:pt x="659892" y="570833"/>
                </a:lnTo>
                <a:lnTo>
                  <a:pt x="678656" y="570833"/>
                </a:lnTo>
                <a:lnTo>
                  <a:pt x="678656" y="491871"/>
                </a:lnTo>
                <a:cubicBezTo>
                  <a:pt x="678656" y="455867"/>
                  <a:pt x="661702" y="437960"/>
                  <a:pt x="627698" y="437960"/>
                </a:cubicBezTo>
                <a:cubicBezTo>
                  <a:pt x="617601" y="437960"/>
                  <a:pt x="608076" y="440531"/>
                  <a:pt x="599123" y="445389"/>
                </a:cubicBezTo>
                <a:cubicBezTo>
                  <a:pt x="590264" y="450342"/>
                  <a:pt x="583502" y="457867"/>
                  <a:pt x="578930" y="467963"/>
                </a:cubicBezTo>
                <a:cubicBezTo>
                  <a:pt x="576167" y="457867"/>
                  <a:pt x="570643" y="450342"/>
                  <a:pt x="562261" y="445389"/>
                </a:cubicBezTo>
                <a:cubicBezTo>
                  <a:pt x="554165" y="440436"/>
                  <a:pt x="545021" y="437960"/>
                  <a:pt x="534924" y="437960"/>
                </a:cubicBezTo>
                <a:cubicBezTo>
                  <a:pt x="522351" y="437960"/>
                  <a:pt x="512064" y="440626"/>
                  <a:pt x="503968" y="445961"/>
                </a:cubicBezTo>
                <a:cubicBezTo>
                  <a:pt x="495967" y="451295"/>
                  <a:pt x="489585" y="458724"/>
                  <a:pt x="484727" y="468344"/>
                </a:cubicBezTo>
                <a:lnTo>
                  <a:pt x="483775" y="442436"/>
                </a:lnTo>
                <a:lnTo>
                  <a:pt x="466535" y="442436"/>
                </a:lnTo>
                <a:lnTo>
                  <a:pt x="466535" y="570929"/>
                </a:lnTo>
                <a:lnTo>
                  <a:pt x="485299" y="570929"/>
                </a:lnTo>
                <a:close/>
                <a:moveTo>
                  <a:pt x="717995" y="570929"/>
                </a:moveTo>
                <a:lnTo>
                  <a:pt x="715613" y="567309"/>
                </a:lnTo>
                <a:cubicBezTo>
                  <a:pt x="713899" y="563499"/>
                  <a:pt x="712946" y="559213"/>
                  <a:pt x="712946" y="554450"/>
                </a:cubicBezTo>
                <a:cubicBezTo>
                  <a:pt x="712946" y="547021"/>
                  <a:pt x="715137" y="541211"/>
                  <a:pt x="719519" y="537210"/>
                </a:cubicBezTo>
                <a:cubicBezTo>
                  <a:pt x="724090" y="533019"/>
                  <a:pt x="729806" y="529781"/>
                  <a:pt x="736759" y="527590"/>
                </a:cubicBezTo>
                <a:cubicBezTo>
                  <a:pt x="743617" y="525399"/>
                  <a:pt x="751332" y="523780"/>
                  <a:pt x="759714" y="522827"/>
                </a:cubicBezTo>
                <a:cubicBezTo>
                  <a:pt x="768191" y="521684"/>
                  <a:pt x="776383" y="520351"/>
                  <a:pt x="784384" y="518922"/>
                </a:cubicBezTo>
                <a:lnTo>
                  <a:pt x="793242" y="516826"/>
                </a:lnTo>
                <a:lnTo>
                  <a:pt x="800100" y="512064"/>
                </a:lnTo>
                <a:lnTo>
                  <a:pt x="800672" y="512064"/>
                </a:lnTo>
                <a:lnTo>
                  <a:pt x="800672" y="536448"/>
                </a:lnTo>
                <a:cubicBezTo>
                  <a:pt x="800672" y="544068"/>
                  <a:pt x="799243" y="550736"/>
                  <a:pt x="796290" y="556736"/>
                </a:cubicBezTo>
                <a:cubicBezTo>
                  <a:pt x="793718" y="562166"/>
                  <a:pt x="790289" y="566928"/>
                  <a:pt x="785908" y="570833"/>
                </a:cubicBezTo>
                <a:lnTo>
                  <a:pt x="800481" y="570833"/>
                </a:lnTo>
                <a:lnTo>
                  <a:pt x="801624" y="569214"/>
                </a:lnTo>
                <a:lnTo>
                  <a:pt x="801815" y="570738"/>
                </a:lnTo>
                <a:lnTo>
                  <a:pt x="819531" y="570738"/>
                </a:lnTo>
                <a:lnTo>
                  <a:pt x="819436" y="568928"/>
                </a:lnTo>
                <a:lnTo>
                  <a:pt x="819436" y="487299"/>
                </a:lnTo>
                <a:cubicBezTo>
                  <a:pt x="819436" y="477012"/>
                  <a:pt x="817721" y="468630"/>
                  <a:pt x="814388" y="462248"/>
                </a:cubicBezTo>
                <a:cubicBezTo>
                  <a:pt x="811054" y="455676"/>
                  <a:pt x="806672" y="450628"/>
                  <a:pt x="801243" y="447104"/>
                </a:cubicBezTo>
                <a:cubicBezTo>
                  <a:pt x="795909" y="443484"/>
                  <a:pt x="789908" y="441103"/>
                  <a:pt x="783050" y="439960"/>
                </a:cubicBezTo>
                <a:cubicBezTo>
                  <a:pt x="776288" y="438626"/>
                  <a:pt x="769620" y="437864"/>
                  <a:pt x="762857" y="437864"/>
                </a:cubicBezTo>
                <a:cubicBezTo>
                  <a:pt x="753904" y="437864"/>
                  <a:pt x="745808" y="438817"/>
                  <a:pt x="738473" y="440817"/>
                </a:cubicBezTo>
                <a:cubicBezTo>
                  <a:pt x="731139" y="442817"/>
                  <a:pt x="724662" y="445865"/>
                  <a:pt x="719042" y="450056"/>
                </a:cubicBezTo>
                <a:cubicBezTo>
                  <a:pt x="713708" y="454247"/>
                  <a:pt x="709422" y="459581"/>
                  <a:pt x="706279" y="466058"/>
                </a:cubicBezTo>
                <a:cubicBezTo>
                  <a:pt x="703136" y="472631"/>
                  <a:pt x="701135" y="480346"/>
                  <a:pt x="700659" y="489299"/>
                </a:cubicBezTo>
                <a:lnTo>
                  <a:pt x="719423" y="489299"/>
                </a:lnTo>
                <a:cubicBezTo>
                  <a:pt x="719804" y="476822"/>
                  <a:pt x="723710" y="467773"/>
                  <a:pt x="731330" y="462153"/>
                </a:cubicBezTo>
                <a:cubicBezTo>
                  <a:pt x="738854" y="456438"/>
                  <a:pt x="748475" y="453581"/>
                  <a:pt x="760381" y="453581"/>
                </a:cubicBezTo>
                <a:cubicBezTo>
                  <a:pt x="766001" y="453581"/>
                  <a:pt x="771144" y="454057"/>
                  <a:pt x="775907" y="455009"/>
                </a:cubicBezTo>
                <a:cubicBezTo>
                  <a:pt x="780860" y="455771"/>
                  <a:pt x="785146" y="457391"/>
                  <a:pt x="788670" y="459772"/>
                </a:cubicBezTo>
                <a:cubicBezTo>
                  <a:pt x="792385" y="462153"/>
                  <a:pt x="795338" y="465392"/>
                  <a:pt x="797243" y="469583"/>
                </a:cubicBezTo>
                <a:cubicBezTo>
                  <a:pt x="799433" y="473583"/>
                  <a:pt x="800481" y="478726"/>
                  <a:pt x="800481" y="485108"/>
                </a:cubicBezTo>
                <a:cubicBezTo>
                  <a:pt x="800481" y="489299"/>
                  <a:pt x="799910" y="492728"/>
                  <a:pt x="798671" y="495205"/>
                </a:cubicBezTo>
                <a:lnTo>
                  <a:pt x="794195" y="501396"/>
                </a:lnTo>
                <a:lnTo>
                  <a:pt x="786765" y="504349"/>
                </a:lnTo>
                <a:cubicBezTo>
                  <a:pt x="783812" y="504920"/>
                  <a:pt x="780383" y="505397"/>
                  <a:pt x="776288" y="505873"/>
                </a:cubicBezTo>
                <a:cubicBezTo>
                  <a:pt x="766191" y="507111"/>
                  <a:pt x="756190" y="508349"/>
                  <a:pt x="746284" y="509683"/>
                </a:cubicBezTo>
                <a:cubicBezTo>
                  <a:pt x="736568" y="510921"/>
                  <a:pt x="727710" y="513112"/>
                  <a:pt x="719804" y="516255"/>
                </a:cubicBezTo>
                <a:cubicBezTo>
                  <a:pt x="712089" y="519398"/>
                  <a:pt x="705898" y="524066"/>
                  <a:pt x="701135" y="530257"/>
                </a:cubicBezTo>
                <a:cubicBezTo>
                  <a:pt x="696373" y="536162"/>
                  <a:pt x="693992" y="544544"/>
                  <a:pt x="693992" y="555308"/>
                </a:cubicBezTo>
                <a:cubicBezTo>
                  <a:pt x="693992" y="560927"/>
                  <a:pt x="694658" y="565976"/>
                  <a:pt x="695992" y="570548"/>
                </a:cubicBezTo>
                <a:lnTo>
                  <a:pt x="717995" y="570929"/>
                </a:lnTo>
                <a:close/>
                <a:moveTo>
                  <a:pt x="888778" y="570929"/>
                </a:moveTo>
                <a:cubicBezTo>
                  <a:pt x="884206" y="567785"/>
                  <a:pt x="880396" y="564071"/>
                  <a:pt x="877157" y="559880"/>
                </a:cubicBezTo>
                <a:cubicBezTo>
                  <a:pt x="872966" y="554069"/>
                  <a:pt x="869918" y="547497"/>
                  <a:pt x="868013" y="540163"/>
                </a:cubicBezTo>
                <a:cubicBezTo>
                  <a:pt x="866013" y="532829"/>
                  <a:pt x="865061" y="525304"/>
                  <a:pt x="865061" y="517589"/>
                </a:cubicBezTo>
                <a:cubicBezTo>
                  <a:pt x="865061" y="509588"/>
                  <a:pt x="865918" y="501872"/>
                  <a:pt x="867728" y="494348"/>
                </a:cubicBezTo>
                <a:cubicBezTo>
                  <a:pt x="869728" y="486632"/>
                  <a:pt x="872776" y="479774"/>
                  <a:pt x="876967" y="473774"/>
                </a:cubicBezTo>
                <a:cubicBezTo>
                  <a:pt x="881158" y="467773"/>
                  <a:pt x="886301" y="463010"/>
                  <a:pt x="892683" y="459486"/>
                </a:cubicBezTo>
                <a:cubicBezTo>
                  <a:pt x="898970" y="455676"/>
                  <a:pt x="906685" y="453866"/>
                  <a:pt x="915638" y="453866"/>
                </a:cubicBezTo>
                <a:cubicBezTo>
                  <a:pt x="924592" y="453866"/>
                  <a:pt x="932117" y="455676"/>
                  <a:pt x="938213" y="459486"/>
                </a:cubicBezTo>
                <a:cubicBezTo>
                  <a:pt x="944594" y="463201"/>
                  <a:pt x="949738" y="468154"/>
                  <a:pt x="953738" y="474345"/>
                </a:cubicBezTo>
                <a:cubicBezTo>
                  <a:pt x="957644" y="480536"/>
                  <a:pt x="960596" y="487394"/>
                  <a:pt x="962311" y="494919"/>
                </a:cubicBezTo>
                <a:cubicBezTo>
                  <a:pt x="964121" y="502444"/>
                  <a:pt x="964978" y="510064"/>
                  <a:pt x="964978" y="517589"/>
                </a:cubicBezTo>
                <a:cubicBezTo>
                  <a:pt x="964978" y="525304"/>
                  <a:pt x="963835" y="532829"/>
                  <a:pt x="961739" y="540163"/>
                </a:cubicBezTo>
                <a:cubicBezTo>
                  <a:pt x="959739" y="547497"/>
                  <a:pt x="956691" y="554069"/>
                  <a:pt x="952500" y="559880"/>
                </a:cubicBezTo>
                <a:cubicBezTo>
                  <a:pt x="949357" y="564166"/>
                  <a:pt x="945547" y="567881"/>
                  <a:pt x="941070" y="570929"/>
                </a:cubicBezTo>
                <a:lnTo>
                  <a:pt x="959930" y="570929"/>
                </a:lnTo>
                <a:lnTo>
                  <a:pt x="964406" y="562832"/>
                </a:lnTo>
                <a:lnTo>
                  <a:pt x="964692" y="570929"/>
                </a:lnTo>
                <a:lnTo>
                  <a:pt x="983742" y="570929"/>
                </a:lnTo>
                <a:lnTo>
                  <a:pt x="983742" y="442532"/>
                </a:lnTo>
                <a:lnTo>
                  <a:pt x="964978" y="442532"/>
                </a:lnTo>
                <a:lnTo>
                  <a:pt x="964978" y="469106"/>
                </a:lnTo>
                <a:cubicBezTo>
                  <a:pt x="962597" y="464915"/>
                  <a:pt x="960025" y="460915"/>
                  <a:pt x="956691" y="457105"/>
                </a:cubicBezTo>
                <a:cubicBezTo>
                  <a:pt x="953548" y="453295"/>
                  <a:pt x="949833" y="450056"/>
                  <a:pt x="945642" y="447294"/>
                </a:cubicBezTo>
                <a:cubicBezTo>
                  <a:pt x="941546" y="444341"/>
                  <a:pt x="936784" y="442055"/>
                  <a:pt x="931640" y="440436"/>
                </a:cubicBezTo>
                <a:cubicBezTo>
                  <a:pt x="926687" y="438912"/>
                  <a:pt x="921353" y="438055"/>
                  <a:pt x="915543" y="438055"/>
                </a:cubicBezTo>
                <a:cubicBezTo>
                  <a:pt x="904399" y="438055"/>
                  <a:pt x="894493" y="440150"/>
                  <a:pt x="885825" y="444341"/>
                </a:cubicBezTo>
                <a:cubicBezTo>
                  <a:pt x="877348" y="448342"/>
                  <a:pt x="870013" y="453866"/>
                  <a:pt x="864108" y="460915"/>
                </a:cubicBezTo>
                <a:cubicBezTo>
                  <a:pt x="858393" y="467963"/>
                  <a:pt x="853916" y="476155"/>
                  <a:pt x="850678" y="485680"/>
                </a:cubicBezTo>
                <a:cubicBezTo>
                  <a:pt x="847630" y="495014"/>
                  <a:pt x="846201" y="505016"/>
                  <a:pt x="846201" y="515493"/>
                </a:cubicBezTo>
                <a:cubicBezTo>
                  <a:pt x="846201" y="526447"/>
                  <a:pt x="847535" y="536734"/>
                  <a:pt x="850106" y="546449"/>
                </a:cubicBezTo>
                <a:cubicBezTo>
                  <a:pt x="852488" y="555784"/>
                  <a:pt x="856583" y="563975"/>
                  <a:pt x="861822" y="570929"/>
                </a:cubicBezTo>
                <a:cubicBezTo>
                  <a:pt x="861917" y="570929"/>
                  <a:pt x="888778" y="570929"/>
                  <a:pt x="888778" y="570929"/>
                </a:cubicBezTo>
                <a:close/>
                <a:moveTo>
                  <a:pt x="271748" y="508635"/>
                </a:moveTo>
                <a:lnTo>
                  <a:pt x="172403" y="508635"/>
                </a:lnTo>
                <a:cubicBezTo>
                  <a:pt x="173165" y="501682"/>
                  <a:pt x="174784" y="494919"/>
                  <a:pt x="177165" y="488442"/>
                </a:cubicBezTo>
                <a:cubicBezTo>
                  <a:pt x="179737" y="481584"/>
                  <a:pt x="182975" y="475869"/>
                  <a:pt x="187262" y="470821"/>
                </a:cubicBezTo>
                <a:cubicBezTo>
                  <a:pt x="191453" y="465677"/>
                  <a:pt x="196406" y="461582"/>
                  <a:pt x="202406" y="458629"/>
                </a:cubicBezTo>
                <a:cubicBezTo>
                  <a:pt x="208312" y="455390"/>
                  <a:pt x="215075" y="453866"/>
                  <a:pt x="222885" y="453866"/>
                </a:cubicBezTo>
                <a:cubicBezTo>
                  <a:pt x="230505" y="453866"/>
                  <a:pt x="237173" y="455390"/>
                  <a:pt x="243173" y="458629"/>
                </a:cubicBezTo>
                <a:cubicBezTo>
                  <a:pt x="249174" y="461582"/>
                  <a:pt x="254222" y="465677"/>
                  <a:pt x="258318" y="470821"/>
                </a:cubicBezTo>
                <a:cubicBezTo>
                  <a:pt x="262509" y="475774"/>
                  <a:pt x="265652" y="481489"/>
                  <a:pt x="267843" y="488061"/>
                </a:cubicBezTo>
                <a:cubicBezTo>
                  <a:pt x="270224" y="494633"/>
                  <a:pt x="271558" y="501396"/>
                  <a:pt x="271748" y="508635"/>
                </a:cubicBezTo>
                <a:moveTo>
                  <a:pt x="10287" y="596170"/>
                </a:moveTo>
                <a:lnTo>
                  <a:pt x="29051" y="596170"/>
                </a:lnTo>
                <a:lnTo>
                  <a:pt x="29051" y="571024"/>
                </a:lnTo>
                <a:lnTo>
                  <a:pt x="10287" y="571024"/>
                </a:lnTo>
                <a:lnTo>
                  <a:pt x="10287" y="596170"/>
                </a:lnTo>
                <a:close/>
                <a:moveTo>
                  <a:pt x="116110" y="596170"/>
                </a:moveTo>
                <a:lnTo>
                  <a:pt x="134874" y="596170"/>
                </a:lnTo>
                <a:lnTo>
                  <a:pt x="134874" y="571024"/>
                </a:lnTo>
                <a:lnTo>
                  <a:pt x="116110" y="571024"/>
                </a:lnTo>
                <a:lnTo>
                  <a:pt x="116110" y="596170"/>
                </a:lnTo>
                <a:close/>
                <a:moveTo>
                  <a:pt x="166211" y="570929"/>
                </a:moveTo>
                <a:lnTo>
                  <a:pt x="170021" y="576548"/>
                </a:lnTo>
                <a:cubicBezTo>
                  <a:pt x="175546" y="583883"/>
                  <a:pt x="182690" y="589693"/>
                  <a:pt x="191453" y="594074"/>
                </a:cubicBezTo>
                <a:cubicBezTo>
                  <a:pt x="200406" y="598265"/>
                  <a:pt x="210788" y="600266"/>
                  <a:pt x="222980" y="600266"/>
                </a:cubicBezTo>
                <a:cubicBezTo>
                  <a:pt x="242411" y="600266"/>
                  <a:pt x="257366" y="595598"/>
                  <a:pt x="267938" y="585978"/>
                </a:cubicBezTo>
                <a:cubicBezTo>
                  <a:pt x="272701" y="581692"/>
                  <a:pt x="276701" y="576644"/>
                  <a:pt x="280226" y="570929"/>
                </a:cubicBezTo>
                <a:lnTo>
                  <a:pt x="258318" y="570929"/>
                </a:lnTo>
                <a:lnTo>
                  <a:pt x="255175" y="574072"/>
                </a:lnTo>
                <a:cubicBezTo>
                  <a:pt x="247364" y="581216"/>
                  <a:pt x="236696" y="584740"/>
                  <a:pt x="222980" y="584740"/>
                </a:cubicBezTo>
                <a:cubicBezTo>
                  <a:pt x="214027" y="584740"/>
                  <a:pt x="206407" y="582835"/>
                  <a:pt x="200120" y="579025"/>
                </a:cubicBezTo>
                <a:cubicBezTo>
                  <a:pt x="196120" y="576644"/>
                  <a:pt x="192500" y="573977"/>
                  <a:pt x="189357" y="570833"/>
                </a:cubicBezTo>
                <a:lnTo>
                  <a:pt x="166211" y="570833"/>
                </a:lnTo>
                <a:close/>
                <a:moveTo>
                  <a:pt x="316801" y="570929"/>
                </a:moveTo>
                <a:cubicBezTo>
                  <a:pt x="318707" y="576263"/>
                  <a:pt x="321374" y="580835"/>
                  <a:pt x="324707" y="584835"/>
                </a:cubicBezTo>
                <a:cubicBezTo>
                  <a:pt x="329184" y="589788"/>
                  <a:pt x="334613" y="593598"/>
                  <a:pt x="341376" y="596170"/>
                </a:cubicBezTo>
                <a:cubicBezTo>
                  <a:pt x="348329" y="598932"/>
                  <a:pt x="356616" y="600361"/>
                  <a:pt x="366332" y="600361"/>
                </a:cubicBezTo>
                <a:cubicBezTo>
                  <a:pt x="377857" y="600361"/>
                  <a:pt x="388239" y="597694"/>
                  <a:pt x="397574" y="592360"/>
                </a:cubicBezTo>
                <a:cubicBezTo>
                  <a:pt x="406337" y="587216"/>
                  <a:pt x="413099" y="580168"/>
                  <a:pt x="418052" y="571024"/>
                </a:cubicBezTo>
                <a:lnTo>
                  <a:pt x="403574" y="571024"/>
                </a:lnTo>
                <a:cubicBezTo>
                  <a:pt x="400526" y="574548"/>
                  <a:pt x="397002" y="577406"/>
                  <a:pt x="393192" y="579882"/>
                </a:cubicBezTo>
                <a:cubicBezTo>
                  <a:pt x="387382" y="583216"/>
                  <a:pt x="380524" y="584930"/>
                  <a:pt x="372332" y="584930"/>
                </a:cubicBezTo>
                <a:cubicBezTo>
                  <a:pt x="357473" y="584930"/>
                  <a:pt x="346900" y="581311"/>
                  <a:pt x="340805" y="574262"/>
                </a:cubicBezTo>
                <a:lnTo>
                  <a:pt x="338519" y="571024"/>
                </a:lnTo>
                <a:lnTo>
                  <a:pt x="316801" y="570929"/>
                </a:lnTo>
                <a:close/>
                <a:moveTo>
                  <a:pt x="419386" y="570929"/>
                </a:moveTo>
                <a:lnTo>
                  <a:pt x="419957" y="596075"/>
                </a:lnTo>
                <a:lnTo>
                  <a:pt x="437198" y="596075"/>
                </a:lnTo>
                <a:lnTo>
                  <a:pt x="437198" y="570929"/>
                </a:lnTo>
                <a:lnTo>
                  <a:pt x="419386" y="570929"/>
                </a:lnTo>
                <a:close/>
                <a:moveTo>
                  <a:pt x="466535" y="596170"/>
                </a:moveTo>
                <a:lnTo>
                  <a:pt x="485299" y="596170"/>
                </a:lnTo>
                <a:lnTo>
                  <a:pt x="485299" y="571024"/>
                </a:lnTo>
                <a:lnTo>
                  <a:pt x="466535" y="571024"/>
                </a:lnTo>
                <a:lnTo>
                  <a:pt x="466535" y="596170"/>
                </a:lnTo>
                <a:close/>
                <a:moveTo>
                  <a:pt x="563309" y="596170"/>
                </a:moveTo>
                <a:lnTo>
                  <a:pt x="582073" y="596170"/>
                </a:lnTo>
                <a:lnTo>
                  <a:pt x="582073" y="571024"/>
                </a:lnTo>
                <a:lnTo>
                  <a:pt x="563309" y="571024"/>
                </a:lnTo>
                <a:lnTo>
                  <a:pt x="563309" y="596170"/>
                </a:lnTo>
                <a:close/>
                <a:moveTo>
                  <a:pt x="659987" y="596170"/>
                </a:moveTo>
                <a:lnTo>
                  <a:pt x="678752" y="596170"/>
                </a:lnTo>
                <a:lnTo>
                  <a:pt x="678752" y="571024"/>
                </a:lnTo>
                <a:lnTo>
                  <a:pt x="659987" y="571024"/>
                </a:lnTo>
                <a:lnTo>
                  <a:pt x="659987" y="596170"/>
                </a:lnTo>
                <a:close/>
                <a:moveTo>
                  <a:pt x="696182" y="570929"/>
                </a:moveTo>
                <a:lnTo>
                  <a:pt x="698087" y="575882"/>
                </a:lnTo>
                <a:cubicBezTo>
                  <a:pt x="700850" y="581406"/>
                  <a:pt x="704564" y="586169"/>
                  <a:pt x="709136" y="589883"/>
                </a:cubicBezTo>
                <a:cubicBezTo>
                  <a:pt x="713899" y="593503"/>
                  <a:pt x="719328" y="596075"/>
                  <a:pt x="725519" y="597599"/>
                </a:cubicBezTo>
                <a:cubicBezTo>
                  <a:pt x="731901" y="599408"/>
                  <a:pt x="738664" y="600266"/>
                  <a:pt x="745712" y="600266"/>
                </a:cubicBezTo>
                <a:cubicBezTo>
                  <a:pt x="753237" y="600266"/>
                  <a:pt x="759714" y="599599"/>
                  <a:pt x="765048" y="598170"/>
                </a:cubicBezTo>
                <a:cubicBezTo>
                  <a:pt x="770668" y="596741"/>
                  <a:pt x="775526" y="594836"/>
                  <a:pt x="779621" y="592169"/>
                </a:cubicBezTo>
                <a:cubicBezTo>
                  <a:pt x="784003" y="589598"/>
                  <a:pt x="787908" y="586454"/>
                  <a:pt x="791337" y="582644"/>
                </a:cubicBezTo>
                <a:cubicBezTo>
                  <a:pt x="794576" y="579025"/>
                  <a:pt x="797624" y="575120"/>
                  <a:pt x="800672" y="570738"/>
                </a:cubicBezTo>
                <a:lnTo>
                  <a:pt x="786098" y="570833"/>
                </a:lnTo>
                <a:lnTo>
                  <a:pt x="784860" y="571881"/>
                </a:lnTo>
                <a:cubicBezTo>
                  <a:pt x="780002" y="576072"/>
                  <a:pt x="774383" y="579215"/>
                  <a:pt x="767810" y="581406"/>
                </a:cubicBezTo>
                <a:cubicBezTo>
                  <a:pt x="761333" y="583502"/>
                  <a:pt x="754475" y="584645"/>
                  <a:pt x="747332" y="584645"/>
                </a:cubicBezTo>
                <a:cubicBezTo>
                  <a:pt x="742950" y="584645"/>
                  <a:pt x="738759" y="583978"/>
                  <a:pt x="734473" y="582549"/>
                </a:cubicBezTo>
                <a:cubicBezTo>
                  <a:pt x="730377" y="581120"/>
                  <a:pt x="726662" y="579120"/>
                  <a:pt x="723424" y="576548"/>
                </a:cubicBezTo>
                <a:lnTo>
                  <a:pt x="717995" y="570643"/>
                </a:lnTo>
                <a:lnTo>
                  <a:pt x="696182" y="570929"/>
                </a:lnTo>
                <a:close/>
                <a:moveTo>
                  <a:pt x="801815" y="570929"/>
                </a:moveTo>
                <a:lnTo>
                  <a:pt x="802767" y="580358"/>
                </a:lnTo>
                <a:lnTo>
                  <a:pt x="806006" y="588740"/>
                </a:lnTo>
                <a:lnTo>
                  <a:pt x="812483" y="594360"/>
                </a:lnTo>
                <a:cubicBezTo>
                  <a:pt x="815435" y="595598"/>
                  <a:pt x="819340" y="596170"/>
                  <a:pt x="824103" y="596170"/>
                </a:cubicBezTo>
                <a:lnTo>
                  <a:pt x="830390" y="595884"/>
                </a:lnTo>
                <a:lnTo>
                  <a:pt x="836295" y="595027"/>
                </a:lnTo>
                <a:lnTo>
                  <a:pt x="836295" y="579120"/>
                </a:lnTo>
                <a:lnTo>
                  <a:pt x="830390" y="580358"/>
                </a:lnTo>
                <a:cubicBezTo>
                  <a:pt x="823627" y="580358"/>
                  <a:pt x="820007" y="577215"/>
                  <a:pt x="819531" y="570929"/>
                </a:cubicBezTo>
                <a:lnTo>
                  <a:pt x="801815" y="570929"/>
                </a:lnTo>
                <a:close/>
                <a:moveTo>
                  <a:pt x="861917" y="570929"/>
                </a:moveTo>
                <a:lnTo>
                  <a:pt x="862298" y="571405"/>
                </a:lnTo>
                <a:cubicBezTo>
                  <a:pt x="868013" y="578549"/>
                  <a:pt x="875252" y="584264"/>
                  <a:pt x="883920" y="588455"/>
                </a:cubicBezTo>
                <a:cubicBezTo>
                  <a:pt x="892683" y="592360"/>
                  <a:pt x="903161" y="594360"/>
                  <a:pt x="915543" y="594360"/>
                </a:cubicBezTo>
                <a:cubicBezTo>
                  <a:pt x="926783" y="594360"/>
                  <a:pt x="936593" y="591598"/>
                  <a:pt x="944975" y="585788"/>
                </a:cubicBezTo>
                <a:cubicBezTo>
                  <a:pt x="950976" y="581787"/>
                  <a:pt x="955834" y="576834"/>
                  <a:pt x="959834" y="571024"/>
                </a:cubicBezTo>
                <a:lnTo>
                  <a:pt x="940975" y="571024"/>
                </a:lnTo>
                <a:lnTo>
                  <a:pt x="936974" y="573596"/>
                </a:lnTo>
                <a:cubicBezTo>
                  <a:pt x="930878" y="576929"/>
                  <a:pt x="923735" y="578644"/>
                  <a:pt x="915543" y="578644"/>
                </a:cubicBezTo>
                <a:cubicBezTo>
                  <a:pt x="906875" y="578644"/>
                  <a:pt x="899255" y="577025"/>
                  <a:pt x="892874" y="573596"/>
                </a:cubicBezTo>
                <a:lnTo>
                  <a:pt x="888683" y="571024"/>
                </a:lnTo>
                <a:lnTo>
                  <a:pt x="861917" y="570929"/>
                </a:lnTo>
                <a:close/>
                <a:moveTo>
                  <a:pt x="964597" y="570929"/>
                </a:moveTo>
                <a:lnTo>
                  <a:pt x="964978" y="583597"/>
                </a:lnTo>
                <a:cubicBezTo>
                  <a:pt x="964978" y="595598"/>
                  <a:pt x="963359" y="605695"/>
                  <a:pt x="960215" y="613982"/>
                </a:cubicBezTo>
                <a:lnTo>
                  <a:pt x="979932" y="613982"/>
                </a:lnTo>
                <a:cubicBezTo>
                  <a:pt x="982409" y="604933"/>
                  <a:pt x="983742" y="594741"/>
                  <a:pt x="983742" y="583597"/>
                </a:cubicBezTo>
                <a:lnTo>
                  <a:pt x="983742" y="570929"/>
                </a:lnTo>
                <a:lnTo>
                  <a:pt x="964597" y="570929"/>
                </a:lnTo>
                <a:close/>
                <a:moveTo>
                  <a:pt x="871347" y="614077"/>
                </a:moveTo>
                <a:lnTo>
                  <a:pt x="870680" y="610743"/>
                </a:lnTo>
                <a:lnTo>
                  <a:pt x="851916" y="610743"/>
                </a:lnTo>
                <a:lnTo>
                  <a:pt x="852297" y="614077"/>
                </a:lnTo>
                <a:lnTo>
                  <a:pt x="871347" y="614077"/>
                </a:lnTo>
                <a:close/>
                <a:moveTo>
                  <a:pt x="852202" y="614077"/>
                </a:moveTo>
                <a:cubicBezTo>
                  <a:pt x="853059" y="620840"/>
                  <a:pt x="855155" y="626650"/>
                  <a:pt x="858393" y="631603"/>
                </a:cubicBezTo>
                <a:cubicBezTo>
                  <a:pt x="862298" y="637508"/>
                  <a:pt x="867251" y="642461"/>
                  <a:pt x="872966" y="646176"/>
                </a:cubicBezTo>
                <a:cubicBezTo>
                  <a:pt x="878967" y="649986"/>
                  <a:pt x="885539" y="652748"/>
                  <a:pt x="892874" y="654558"/>
                </a:cubicBezTo>
                <a:cubicBezTo>
                  <a:pt x="900208" y="656273"/>
                  <a:pt x="907828" y="657225"/>
                  <a:pt x="915543" y="657225"/>
                </a:cubicBezTo>
                <a:cubicBezTo>
                  <a:pt x="928021" y="657225"/>
                  <a:pt x="938498" y="655511"/>
                  <a:pt x="947071" y="652082"/>
                </a:cubicBezTo>
                <a:cubicBezTo>
                  <a:pt x="955738" y="648653"/>
                  <a:pt x="962882" y="643890"/>
                  <a:pt x="968216" y="637508"/>
                </a:cubicBezTo>
                <a:cubicBezTo>
                  <a:pt x="973550" y="631222"/>
                  <a:pt x="977360" y="623411"/>
                  <a:pt x="979742" y="614267"/>
                </a:cubicBezTo>
                <a:lnTo>
                  <a:pt x="979837" y="613982"/>
                </a:lnTo>
                <a:lnTo>
                  <a:pt x="960120" y="613982"/>
                </a:lnTo>
                <a:cubicBezTo>
                  <a:pt x="958310" y="618744"/>
                  <a:pt x="956024" y="622840"/>
                  <a:pt x="953262" y="626459"/>
                </a:cubicBezTo>
                <a:cubicBezTo>
                  <a:pt x="945452" y="636365"/>
                  <a:pt x="932879" y="641318"/>
                  <a:pt x="915448" y="641318"/>
                </a:cubicBezTo>
                <a:cubicBezTo>
                  <a:pt x="910304" y="641318"/>
                  <a:pt x="905161" y="640747"/>
                  <a:pt x="900208" y="639604"/>
                </a:cubicBezTo>
                <a:cubicBezTo>
                  <a:pt x="895350" y="638556"/>
                  <a:pt x="890683" y="636937"/>
                  <a:pt x="886587" y="634460"/>
                </a:cubicBezTo>
                <a:cubicBezTo>
                  <a:pt x="882587" y="632079"/>
                  <a:pt x="879062" y="628936"/>
                  <a:pt x="876110" y="624935"/>
                </a:cubicBezTo>
                <a:cubicBezTo>
                  <a:pt x="873919" y="621887"/>
                  <a:pt x="872300" y="618173"/>
                  <a:pt x="871157" y="613982"/>
                </a:cubicBezTo>
                <a:lnTo>
                  <a:pt x="852202" y="614077"/>
                </a:lnTo>
                <a:lnTo>
                  <a:pt x="852202" y="614077"/>
                </a:lnTo>
                <a:close/>
                <a:moveTo>
                  <a:pt x="1448181" y="318992"/>
                </a:moveTo>
                <a:lnTo>
                  <a:pt x="1448181" y="182880"/>
                </a:lnTo>
                <a:cubicBezTo>
                  <a:pt x="1448181" y="153829"/>
                  <a:pt x="1436370" y="141827"/>
                  <a:pt x="1415225" y="141827"/>
                </a:cubicBezTo>
                <a:cubicBezTo>
                  <a:pt x="1393984" y="141827"/>
                  <a:pt x="1375601" y="160401"/>
                  <a:pt x="1375601" y="188595"/>
                </a:cubicBezTo>
                <a:lnTo>
                  <a:pt x="1375601" y="318992"/>
                </a:lnTo>
                <a:lnTo>
                  <a:pt x="1301210" y="318992"/>
                </a:lnTo>
                <a:lnTo>
                  <a:pt x="1301210" y="88202"/>
                </a:lnTo>
                <a:lnTo>
                  <a:pt x="1372934" y="88202"/>
                </a:lnTo>
                <a:lnTo>
                  <a:pt x="1372934" y="123444"/>
                </a:lnTo>
                <a:lnTo>
                  <a:pt x="1373791" y="123444"/>
                </a:lnTo>
                <a:cubicBezTo>
                  <a:pt x="1373791" y="123444"/>
                  <a:pt x="1389698" y="81534"/>
                  <a:pt x="1442466" y="81534"/>
                </a:cubicBezTo>
                <a:cubicBezTo>
                  <a:pt x="1495330" y="81534"/>
                  <a:pt x="1523905" y="110204"/>
                  <a:pt x="1523905" y="170212"/>
                </a:cubicBezTo>
                <a:lnTo>
                  <a:pt x="1523905" y="319088"/>
                </a:lnTo>
                <a:lnTo>
                  <a:pt x="1448181" y="318992"/>
                </a:lnTo>
                <a:lnTo>
                  <a:pt x="1448181" y="318992"/>
                </a:lnTo>
                <a:close/>
                <a:moveTo>
                  <a:pt x="963359" y="318992"/>
                </a:moveTo>
                <a:lnTo>
                  <a:pt x="1051465" y="318992"/>
                </a:lnTo>
                <a:lnTo>
                  <a:pt x="967359" y="174498"/>
                </a:lnTo>
                <a:lnTo>
                  <a:pt x="1048798" y="88202"/>
                </a:lnTo>
                <a:lnTo>
                  <a:pt x="956786" y="88202"/>
                </a:lnTo>
                <a:lnTo>
                  <a:pt x="889921" y="171450"/>
                </a:lnTo>
                <a:lnTo>
                  <a:pt x="889921" y="0"/>
                </a:lnTo>
                <a:lnTo>
                  <a:pt x="816293" y="0"/>
                </a:lnTo>
                <a:lnTo>
                  <a:pt x="816293" y="318992"/>
                </a:lnTo>
                <a:lnTo>
                  <a:pt x="889921" y="318992"/>
                </a:lnTo>
                <a:lnTo>
                  <a:pt x="889921" y="255556"/>
                </a:lnTo>
                <a:lnTo>
                  <a:pt x="915924" y="226981"/>
                </a:lnTo>
                <a:lnTo>
                  <a:pt x="963359" y="318992"/>
                </a:lnTo>
                <a:close/>
                <a:moveTo>
                  <a:pt x="1205770" y="203644"/>
                </a:moveTo>
                <a:cubicBezTo>
                  <a:pt x="1205770" y="245459"/>
                  <a:pt x="1184624" y="266605"/>
                  <a:pt x="1158240" y="266605"/>
                </a:cubicBezTo>
                <a:cubicBezTo>
                  <a:pt x="1131856" y="266605"/>
                  <a:pt x="1110710" y="245459"/>
                  <a:pt x="1110710" y="203644"/>
                </a:cubicBezTo>
                <a:cubicBezTo>
                  <a:pt x="1110710" y="161735"/>
                  <a:pt x="1131856" y="140589"/>
                  <a:pt x="1158240" y="140589"/>
                </a:cubicBezTo>
                <a:cubicBezTo>
                  <a:pt x="1184624" y="140589"/>
                  <a:pt x="1205770" y="161735"/>
                  <a:pt x="1205770" y="203644"/>
                </a:cubicBezTo>
                <a:moveTo>
                  <a:pt x="1033177" y="203644"/>
                </a:moveTo>
                <a:cubicBezTo>
                  <a:pt x="1033177" y="277273"/>
                  <a:pt x="1081564" y="325660"/>
                  <a:pt x="1158145" y="325660"/>
                </a:cubicBezTo>
                <a:cubicBezTo>
                  <a:pt x="1234821" y="325660"/>
                  <a:pt x="1283208" y="277178"/>
                  <a:pt x="1283208" y="203644"/>
                </a:cubicBezTo>
                <a:cubicBezTo>
                  <a:pt x="1283208" y="130016"/>
                  <a:pt x="1234821" y="81534"/>
                  <a:pt x="1158145" y="81534"/>
                </a:cubicBezTo>
                <a:cubicBezTo>
                  <a:pt x="1081564" y="81534"/>
                  <a:pt x="1033177" y="130016"/>
                  <a:pt x="1033177" y="203644"/>
                </a:cubicBezTo>
                <a:moveTo>
                  <a:pt x="605790" y="318992"/>
                </a:moveTo>
                <a:lnTo>
                  <a:pt x="681990" y="318992"/>
                </a:lnTo>
                <a:lnTo>
                  <a:pt x="681990" y="0"/>
                </a:lnTo>
                <a:lnTo>
                  <a:pt x="605790" y="0"/>
                </a:lnTo>
                <a:cubicBezTo>
                  <a:pt x="605790" y="0"/>
                  <a:pt x="605790" y="318992"/>
                  <a:pt x="605790" y="318992"/>
                </a:cubicBezTo>
                <a:close/>
                <a:moveTo>
                  <a:pt x="434816" y="318992"/>
                </a:moveTo>
                <a:lnTo>
                  <a:pt x="511493" y="318992"/>
                </a:lnTo>
                <a:lnTo>
                  <a:pt x="511493" y="217265"/>
                </a:lnTo>
                <a:cubicBezTo>
                  <a:pt x="511493" y="172307"/>
                  <a:pt x="528161" y="155543"/>
                  <a:pt x="564261" y="155543"/>
                </a:cubicBezTo>
                <a:cubicBezTo>
                  <a:pt x="577025" y="155543"/>
                  <a:pt x="588931" y="157353"/>
                  <a:pt x="588931" y="157353"/>
                </a:cubicBezTo>
                <a:lnTo>
                  <a:pt x="588931" y="82868"/>
                </a:lnTo>
                <a:cubicBezTo>
                  <a:pt x="588931" y="82868"/>
                  <a:pt x="582359" y="81534"/>
                  <a:pt x="572262" y="81534"/>
                </a:cubicBezTo>
                <a:cubicBezTo>
                  <a:pt x="519398" y="81534"/>
                  <a:pt x="509683" y="127445"/>
                  <a:pt x="509683" y="127445"/>
                </a:cubicBezTo>
                <a:lnTo>
                  <a:pt x="508825" y="127445"/>
                </a:lnTo>
                <a:lnTo>
                  <a:pt x="508825" y="88202"/>
                </a:lnTo>
                <a:lnTo>
                  <a:pt x="434816" y="88202"/>
                </a:lnTo>
                <a:lnTo>
                  <a:pt x="434816" y="318992"/>
                </a:lnTo>
                <a:close/>
                <a:moveTo>
                  <a:pt x="711041" y="318992"/>
                </a:moveTo>
                <a:lnTo>
                  <a:pt x="787241" y="318992"/>
                </a:lnTo>
                <a:lnTo>
                  <a:pt x="787241" y="88202"/>
                </a:lnTo>
                <a:lnTo>
                  <a:pt x="711041" y="88202"/>
                </a:lnTo>
                <a:lnTo>
                  <a:pt x="711041" y="318992"/>
                </a:lnTo>
                <a:close/>
                <a:moveTo>
                  <a:pt x="711041" y="59912"/>
                </a:moveTo>
                <a:lnTo>
                  <a:pt x="787241" y="59912"/>
                </a:lnTo>
                <a:lnTo>
                  <a:pt x="787241" y="0"/>
                </a:lnTo>
                <a:lnTo>
                  <a:pt x="711041" y="0"/>
                </a:lnTo>
                <a:lnTo>
                  <a:pt x="711041" y="59912"/>
                </a:lnTo>
                <a:close/>
                <a:moveTo>
                  <a:pt x="169069" y="203644"/>
                </a:moveTo>
                <a:cubicBezTo>
                  <a:pt x="169069" y="245459"/>
                  <a:pt x="148019" y="266605"/>
                  <a:pt x="123349" y="266605"/>
                </a:cubicBezTo>
                <a:cubicBezTo>
                  <a:pt x="98679" y="266605"/>
                  <a:pt x="77534" y="245459"/>
                  <a:pt x="77534" y="203644"/>
                </a:cubicBezTo>
                <a:cubicBezTo>
                  <a:pt x="77534" y="161735"/>
                  <a:pt x="98679" y="140589"/>
                  <a:pt x="123349" y="140589"/>
                </a:cubicBezTo>
                <a:cubicBezTo>
                  <a:pt x="148019" y="140589"/>
                  <a:pt x="169069" y="161735"/>
                  <a:pt x="169069" y="203644"/>
                </a:cubicBezTo>
                <a:moveTo>
                  <a:pt x="207836" y="295180"/>
                </a:moveTo>
                <a:cubicBezTo>
                  <a:pt x="228505" y="314611"/>
                  <a:pt x="259366" y="325565"/>
                  <a:pt x="293656" y="325565"/>
                </a:cubicBezTo>
                <a:cubicBezTo>
                  <a:pt x="376904" y="325565"/>
                  <a:pt x="407765" y="277082"/>
                  <a:pt x="414338" y="247079"/>
                </a:cubicBezTo>
                <a:lnTo>
                  <a:pt x="339471" y="247079"/>
                </a:lnTo>
                <a:cubicBezTo>
                  <a:pt x="339471" y="247079"/>
                  <a:pt x="331089" y="270891"/>
                  <a:pt x="296704" y="270891"/>
                </a:cubicBezTo>
                <a:cubicBezTo>
                  <a:pt x="265462" y="270891"/>
                  <a:pt x="250889" y="251460"/>
                  <a:pt x="247841" y="223742"/>
                </a:cubicBezTo>
                <a:lnTo>
                  <a:pt x="415576" y="223742"/>
                </a:lnTo>
                <a:cubicBezTo>
                  <a:pt x="415576" y="223742"/>
                  <a:pt x="416052" y="219742"/>
                  <a:pt x="416052" y="212312"/>
                </a:cubicBezTo>
                <a:cubicBezTo>
                  <a:pt x="416052" y="128969"/>
                  <a:pt x="368427" y="81344"/>
                  <a:pt x="293561" y="81344"/>
                </a:cubicBezTo>
                <a:cubicBezTo>
                  <a:pt x="259271" y="81344"/>
                  <a:pt x="228410" y="92393"/>
                  <a:pt x="207740" y="111728"/>
                </a:cubicBezTo>
                <a:cubicBezTo>
                  <a:pt x="186595" y="92297"/>
                  <a:pt x="157544" y="81344"/>
                  <a:pt x="123253" y="81344"/>
                </a:cubicBezTo>
                <a:cubicBezTo>
                  <a:pt x="48482" y="81534"/>
                  <a:pt x="0" y="130016"/>
                  <a:pt x="0" y="203644"/>
                </a:cubicBezTo>
                <a:cubicBezTo>
                  <a:pt x="0" y="277273"/>
                  <a:pt x="48482" y="325660"/>
                  <a:pt x="123349" y="325660"/>
                </a:cubicBezTo>
                <a:cubicBezTo>
                  <a:pt x="157544" y="325660"/>
                  <a:pt x="186690" y="314611"/>
                  <a:pt x="207836" y="295180"/>
                </a:cubicBezTo>
                <a:moveTo>
                  <a:pt x="247841" y="177165"/>
                </a:moveTo>
                <a:cubicBezTo>
                  <a:pt x="250984" y="153734"/>
                  <a:pt x="265462" y="133541"/>
                  <a:pt x="293656" y="133541"/>
                </a:cubicBezTo>
                <a:cubicBezTo>
                  <a:pt x="321374" y="133541"/>
                  <a:pt x="335947" y="153734"/>
                  <a:pt x="338995" y="177165"/>
                </a:cubicBezTo>
                <a:lnTo>
                  <a:pt x="247841" y="177165"/>
                </a:lnTo>
                <a:close/>
              </a:path>
            </a:pathLst>
          </a:custGeom>
          <a:solidFill>
            <a:srgbClr val="EB0000"/>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47592574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752" r:id="rId20"/>
    <p:sldLayoutId id="2147483753" r:id="rId21"/>
    <p:sldLayoutId id="2147483691" r:id="rId22"/>
    <p:sldLayoutId id="2147483716" r:id="rId23"/>
    <p:sldLayoutId id="2147483717" r:id="rId24"/>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99F827-DC23-45AE-83ED-ABB33076655B}"/>
              </a:ext>
            </a:extLst>
          </p:cNvPr>
          <p:cNvGraphicFramePr>
            <a:graphicFrameLocks noChangeAspect="1"/>
          </p:cNvGraphicFramePr>
          <p:nvPr userDrawn="1">
            <p:custDataLst>
              <p:tags r:id="rId26"/>
            </p:custDataLst>
            <p:extLst>
              <p:ext uri="{D42A27DB-BD31-4B8C-83A1-F6EECF244321}">
                <p14:modId xmlns:p14="http://schemas.microsoft.com/office/powerpoint/2010/main" val="3515339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98" imgH="499" progId="TCLayout.ActiveDocument.1">
                  <p:embed/>
                </p:oleObj>
              </mc:Choice>
              <mc:Fallback>
                <p:oleObj name="think-cell Slide" r:id="rId28" imgW="498" imgH="499"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05C7ABD-78F0-425F-B722-BEBB66A24B29}"/>
              </a:ext>
            </a:extLst>
          </p:cNvPr>
          <p:cNvSpPr/>
          <p:nvPr userDrawn="1">
            <p:custDataLst>
              <p:tags r:id="rId2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a:spcBef>
                <a:spcPts val="300"/>
              </a:spcBef>
              <a:spcAft>
                <a:spcPts val="300"/>
              </a:spcAft>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en-US" dirty="0"/>
              <a:t>Click to edit Master title style</a:t>
            </a:r>
            <a:endParaRPr lang="en-US" noProof="0" dirty="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5" name="Fußzeilenplatzhalter 4"/>
          <p:cNvSpPr>
            <a:spLocks noGrp="1"/>
          </p:cNvSpPr>
          <p:nvPr>
            <p:ph type="ftr" sz="quarter" idx="3"/>
          </p:nvPr>
        </p:nvSpPr>
        <p:spPr bwMode="gray">
          <a:xfrm>
            <a:off x="1043744" y="4911725"/>
            <a:ext cx="6838988" cy="104378"/>
          </a:xfrm>
          <a:prstGeom prst="rect">
            <a:avLst/>
          </a:prstGeom>
        </p:spPr>
        <p:txBody>
          <a:bodyPr vert="horz" lIns="0" tIns="0" rIns="0" bIns="0" rtlCol="0" anchor="b"/>
          <a:lstStyle>
            <a:lvl1pPr algn="l">
              <a:defRPr sz="700">
                <a:solidFill>
                  <a:schemeClr val="tx1"/>
                </a:solidFill>
              </a:defRPr>
            </a:lvl1pPr>
          </a:lstStyle>
          <a:p>
            <a:r>
              <a:rPr lang="en-US" dirty="0"/>
              <a:t>File Name</a:t>
            </a:r>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dirty="0"/>
              <a:t>Page </a:t>
            </a:r>
            <a:fld id="{D126E9C2-5A98-4FED-83CF-BD978A28F274}" type="slidenum">
              <a:rPr lang="en-US" smtClean="0"/>
              <a:pPr/>
              <a:t>‹Nr.›</a:t>
            </a:fld>
            <a:endParaRPr lang="en-US" dirty="0"/>
          </a:p>
        </p:txBody>
      </p:sp>
      <p:sp>
        <p:nvSpPr>
          <p:cNvPr id="4" name="Date Placeholder 3"/>
          <p:cNvSpPr>
            <a:spLocks noGrp="1"/>
          </p:cNvSpPr>
          <p:nvPr>
            <p:ph type="dt" sz="half" idx="2"/>
          </p:nvPr>
        </p:nvSpPr>
        <p:spPr bwMode="gray">
          <a:xfrm>
            <a:off x="7885113" y="4911725"/>
            <a:ext cx="900111"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dirty="0"/>
          </a:p>
        </p:txBody>
      </p:sp>
      <p:sp>
        <p:nvSpPr>
          <p:cNvPr id="114"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a:ln>
                  <a:noFill/>
                </a:ln>
                <a:solidFill>
                  <a:schemeClr val="bg2"/>
                </a:solidFill>
                <a:effectLst/>
                <a:uLnTx/>
                <a:uFillTx/>
                <a:latin typeface="Arial" pitchFamily="34" charset="0"/>
                <a:cs typeface="Arial" pitchFamily="34" charset="0"/>
              </a:rPr>
              <a:t>It's not allowed to change the master </a:t>
            </a:r>
          </a:p>
        </p:txBody>
      </p:sp>
      <p:sp>
        <p:nvSpPr>
          <p:cNvPr id="115"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grpSp>
        <p:nvGrpSpPr>
          <p:cNvPr id="116" name="Group 115"/>
          <p:cNvGrpSpPr/>
          <p:nvPr/>
        </p:nvGrpSpPr>
        <p:grpSpPr>
          <a:xfrm>
            <a:off x="-12700" y="-134541"/>
            <a:ext cx="9156700" cy="107156"/>
            <a:chOff x="-12700" y="-134541"/>
            <a:chExt cx="9156700" cy="107156"/>
          </a:xfrm>
        </p:grpSpPr>
        <p:sp>
          <p:nvSpPr>
            <p:cNvPr id="117"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5"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6"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7"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8"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9"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0"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1"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2"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4"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6"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137" name="Group 118"/>
            <p:cNvGrpSpPr>
              <a:grpSpLocks/>
            </p:cNvGrpSpPr>
            <p:nvPr userDrawn="1"/>
          </p:nvGrpSpPr>
          <p:grpSpPr bwMode="gray">
            <a:xfrm>
              <a:off x="357188" y="-80963"/>
              <a:ext cx="8428038" cy="53578"/>
              <a:chOff x="225" y="-63"/>
              <a:chExt cx="5309" cy="45"/>
            </a:xfrm>
          </p:grpSpPr>
          <p:sp>
            <p:nvSpPr>
              <p:cNvPr id="1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16"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169"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0"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3"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4"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5"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176"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177"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8"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9"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grpSp>
      <p:grpSp>
        <p:nvGrpSpPr>
          <p:cNvPr id="241" name="Group 240"/>
          <p:cNvGrpSpPr/>
          <p:nvPr/>
        </p:nvGrpSpPr>
        <p:grpSpPr>
          <a:xfrm>
            <a:off x="-981075" y="404813"/>
            <a:ext cx="952501" cy="4745831"/>
            <a:chOff x="-981075" y="404813"/>
            <a:chExt cx="952501" cy="4745831"/>
          </a:xfrm>
        </p:grpSpPr>
        <p:sp>
          <p:nvSpPr>
            <p:cNvPr id="242"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3"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4"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5"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6"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7"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8"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249"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250"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251"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252"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253"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254"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255"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256"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257"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8"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9"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sp>
        <p:nvSpPr>
          <p:cNvPr id="260"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a:ln>
                  <a:noFill/>
                </a:ln>
                <a:solidFill>
                  <a:schemeClr val="tx1"/>
                </a:solidFill>
                <a:effectLst/>
                <a:uLnTx/>
                <a:uFillTx/>
              </a:rPr>
              <a:t>Version September 2016</a:t>
            </a:r>
          </a:p>
        </p:txBody>
      </p:sp>
      <p:sp>
        <p:nvSpPr>
          <p:cNvPr id="261"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sp>
        <p:nvSpPr>
          <p:cNvPr id="262" name="Line 110"/>
          <p:cNvSpPr>
            <a:spLocks noChangeShapeType="1"/>
          </p:cNvSpPr>
          <p:nvPr/>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3" name="Line 111"/>
          <p:cNvSpPr>
            <a:spLocks noChangeShapeType="1"/>
          </p:cNvSpPr>
          <p:nvPr/>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4" name="Line 112"/>
          <p:cNvSpPr>
            <a:spLocks noChangeShapeType="1"/>
          </p:cNvSpPr>
          <p:nvPr/>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5" name="Line 113"/>
          <p:cNvSpPr>
            <a:spLocks noChangeShapeType="1"/>
          </p:cNvSpPr>
          <p:nvPr/>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6" name="Line 114"/>
          <p:cNvSpPr>
            <a:spLocks noChangeShapeType="1"/>
          </p:cNvSpPr>
          <p:nvPr/>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7" name="Line 115"/>
          <p:cNvSpPr>
            <a:spLocks noChangeShapeType="1"/>
          </p:cNvSpPr>
          <p:nvPr/>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8" name="Line 110"/>
          <p:cNvSpPr>
            <a:spLocks noChangeShapeType="1"/>
          </p:cNvSpPr>
          <p:nvPr/>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9" name="Line 110"/>
          <p:cNvSpPr>
            <a:spLocks noChangeShapeType="1"/>
          </p:cNvSpPr>
          <p:nvPr/>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0" name="Line 110"/>
          <p:cNvSpPr>
            <a:spLocks noChangeShapeType="1"/>
          </p:cNvSpPr>
          <p:nvPr/>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7" name="Line 110"/>
          <p:cNvSpPr>
            <a:spLocks noChangeShapeType="1"/>
          </p:cNvSpPr>
          <p:nvPr/>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8" name="Text Box 129"/>
          <p:cNvSpPr txBox="1">
            <a:spLocks noChangeArrowheads="1"/>
          </p:cNvSpPr>
          <p:nvPr/>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279" name="Group 118"/>
          <p:cNvGrpSpPr>
            <a:grpSpLocks/>
          </p:cNvGrpSpPr>
          <p:nvPr/>
        </p:nvGrpSpPr>
        <p:grpSpPr bwMode="gray">
          <a:xfrm>
            <a:off x="357188" y="5224440"/>
            <a:ext cx="8428038" cy="53578"/>
            <a:chOff x="225" y="-63"/>
            <a:chExt cx="5309" cy="45"/>
          </a:xfrm>
        </p:grpSpPr>
        <p:sp>
          <p:nvSpPr>
            <p:cNvPr id="280"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1"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2"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4"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5"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6"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7"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8"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9"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90"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291" name="Text Box 125"/>
          <p:cNvSpPr txBox="1">
            <a:spLocks noChangeArrowheads="1"/>
          </p:cNvSpPr>
          <p:nvPr/>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2" name="Text Box 126"/>
          <p:cNvSpPr txBox="1">
            <a:spLocks noChangeArrowheads="1"/>
          </p:cNvSpPr>
          <p:nvPr/>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3" name="Text Box 127"/>
          <p:cNvSpPr txBox="1">
            <a:spLocks noChangeArrowheads="1"/>
          </p:cNvSpPr>
          <p:nvPr/>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4" name="Text Box 128"/>
          <p:cNvSpPr txBox="1">
            <a:spLocks noChangeArrowheads="1"/>
          </p:cNvSpPr>
          <p:nvPr/>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5" name="Text Box 130"/>
          <p:cNvSpPr txBox="1">
            <a:spLocks noChangeArrowheads="1"/>
          </p:cNvSpPr>
          <p:nvPr/>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296" name="Text Box 125"/>
          <p:cNvSpPr txBox="1">
            <a:spLocks noChangeArrowheads="1"/>
          </p:cNvSpPr>
          <p:nvPr/>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7" name="Text Box 125"/>
          <p:cNvSpPr txBox="1">
            <a:spLocks noChangeArrowheads="1"/>
          </p:cNvSpPr>
          <p:nvPr/>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8" name="Text Box 125"/>
          <p:cNvSpPr txBox="1">
            <a:spLocks noChangeArrowheads="1"/>
          </p:cNvSpPr>
          <p:nvPr/>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9" name="Text Box 125"/>
          <p:cNvSpPr txBox="1">
            <a:spLocks noChangeArrowheads="1"/>
          </p:cNvSpPr>
          <p:nvPr/>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300"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1"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2"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3"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4"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5"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6"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307"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308"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309"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310"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311"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312"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313"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314"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315"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6"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7"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nvGrpSpPr>
          <p:cNvPr id="113" name="Graphic 10">
            <a:extLst>
              <a:ext uri="{FF2B5EF4-FFF2-40B4-BE49-F238E27FC236}">
                <a16:creationId xmlns:a16="http://schemas.microsoft.com/office/drawing/2014/main" id="{D306E140-3868-490C-89C1-04A712C75AE9}"/>
              </a:ext>
            </a:extLst>
          </p:cNvPr>
          <p:cNvGrpSpPr>
            <a:grpSpLocks/>
          </p:cNvGrpSpPr>
          <p:nvPr userDrawn="1"/>
        </p:nvGrpSpPr>
        <p:grpSpPr>
          <a:xfrm>
            <a:off x="7885113" y="216875"/>
            <a:ext cx="900112" cy="354419"/>
            <a:chOff x="3810000" y="2271712"/>
            <a:chExt cx="1524000" cy="600075"/>
          </a:xfrm>
        </p:grpSpPr>
        <p:sp>
          <p:nvSpPr>
            <p:cNvPr id="118" name="Freeform: Shape 117">
              <a:extLst>
                <a:ext uri="{FF2B5EF4-FFF2-40B4-BE49-F238E27FC236}">
                  <a16:creationId xmlns:a16="http://schemas.microsoft.com/office/drawing/2014/main" id="{C31318F9-52B7-4A4A-9AD3-99EE6919E152}"/>
                </a:ext>
              </a:extLst>
            </p:cNvPr>
            <p:cNvSpPr/>
            <p:nvPr/>
          </p:nvSpPr>
          <p:spPr>
            <a:xfrm>
              <a:off x="3810000" y="2271712"/>
              <a:ext cx="1524000" cy="325755"/>
            </a:xfrm>
            <a:custGeom>
              <a:avLst/>
              <a:gdLst>
                <a:gd name="connsiteX0" fmla="*/ 1524000 w 1524000"/>
                <a:gd name="connsiteY0" fmla="*/ 169545 h 325755"/>
                <a:gd name="connsiteX1" fmla="*/ 1524000 w 1524000"/>
                <a:gd name="connsiteY1" fmla="*/ 318135 h 325755"/>
                <a:gd name="connsiteX2" fmla="*/ 1447800 w 1524000"/>
                <a:gd name="connsiteY2" fmla="*/ 318135 h 325755"/>
                <a:gd name="connsiteX3" fmla="*/ 1447800 w 1524000"/>
                <a:gd name="connsiteY3" fmla="*/ 182880 h 325755"/>
                <a:gd name="connsiteX4" fmla="*/ 1414463 w 1524000"/>
                <a:gd name="connsiteY4" fmla="*/ 141923 h 325755"/>
                <a:gd name="connsiteX5" fmla="*/ 1374458 w 1524000"/>
                <a:gd name="connsiteY5" fmla="*/ 188595 h 325755"/>
                <a:gd name="connsiteX6" fmla="*/ 1374458 w 1524000"/>
                <a:gd name="connsiteY6" fmla="*/ 319088 h 325755"/>
                <a:gd name="connsiteX7" fmla="*/ 1300163 w 1524000"/>
                <a:gd name="connsiteY7" fmla="*/ 319088 h 325755"/>
                <a:gd name="connsiteX8" fmla="*/ 1300163 w 1524000"/>
                <a:gd name="connsiteY8" fmla="*/ 87630 h 325755"/>
                <a:gd name="connsiteX9" fmla="*/ 1371600 w 1524000"/>
                <a:gd name="connsiteY9" fmla="*/ 87630 h 325755"/>
                <a:gd name="connsiteX10" fmla="*/ 1371600 w 1524000"/>
                <a:gd name="connsiteY10" fmla="*/ 122873 h 325755"/>
                <a:gd name="connsiteX11" fmla="*/ 1441133 w 1524000"/>
                <a:gd name="connsiteY11" fmla="*/ 80963 h 325755"/>
                <a:gd name="connsiteX12" fmla="*/ 1524000 w 1524000"/>
                <a:gd name="connsiteY12" fmla="*/ 169545 h 325755"/>
                <a:gd name="connsiteX13" fmla="*/ 1048703 w 1524000"/>
                <a:gd name="connsiteY13" fmla="*/ 87630 h 325755"/>
                <a:gd name="connsiteX14" fmla="*/ 956310 w 1524000"/>
                <a:gd name="connsiteY14" fmla="*/ 87630 h 325755"/>
                <a:gd name="connsiteX15" fmla="*/ 889635 w 1524000"/>
                <a:gd name="connsiteY15" fmla="*/ 170498 h 325755"/>
                <a:gd name="connsiteX16" fmla="*/ 889635 w 1524000"/>
                <a:gd name="connsiteY16" fmla="*/ 0 h 325755"/>
                <a:gd name="connsiteX17" fmla="*/ 816293 w 1524000"/>
                <a:gd name="connsiteY17" fmla="*/ 0 h 325755"/>
                <a:gd name="connsiteX18" fmla="*/ 816293 w 1524000"/>
                <a:gd name="connsiteY18" fmla="*/ 319088 h 325755"/>
                <a:gd name="connsiteX19" fmla="*/ 889635 w 1524000"/>
                <a:gd name="connsiteY19" fmla="*/ 319088 h 325755"/>
                <a:gd name="connsiteX20" fmla="*/ 889635 w 1524000"/>
                <a:gd name="connsiteY20" fmla="*/ 255270 h 325755"/>
                <a:gd name="connsiteX21" fmla="*/ 915353 w 1524000"/>
                <a:gd name="connsiteY21" fmla="*/ 226695 h 325755"/>
                <a:gd name="connsiteX22" fmla="*/ 962978 w 1524000"/>
                <a:gd name="connsiteY22" fmla="*/ 319088 h 325755"/>
                <a:gd name="connsiteX23" fmla="*/ 1050608 w 1524000"/>
                <a:gd name="connsiteY23" fmla="*/ 319088 h 325755"/>
                <a:gd name="connsiteX24" fmla="*/ 966788 w 1524000"/>
                <a:gd name="connsiteY24" fmla="*/ 174308 h 325755"/>
                <a:gd name="connsiteX25" fmla="*/ 1048703 w 1524000"/>
                <a:gd name="connsiteY25" fmla="*/ 87630 h 325755"/>
                <a:gd name="connsiteX26" fmla="*/ 605790 w 1524000"/>
                <a:gd name="connsiteY26" fmla="*/ 319088 h 325755"/>
                <a:gd name="connsiteX27" fmla="*/ 681990 w 1524000"/>
                <a:gd name="connsiteY27" fmla="*/ 319088 h 325755"/>
                <a:gd name="connsiteX28" fmla="*/ 681990 w 1524000"/>
                <a:gd name="connsiteY28" fmla="*/ 0 h 325755"/>
                <a:gd name="connsiteX29" fmla="*/ 605790 w 1524000"/>
                <a:gd name="connsiteY29" fmla="*/ 0 h 325755"/>
                <a:gd name="connsiteX30" fmla="*/ 605790 w 1524000"/>
                <a:gd name="connsiteY30" fmla="*/ 319088 h 325755"/>
                <a:gd name="connsiteX31" fmla="*/ 509588 w 1524000"/>
                <a:gd name="connsiteY31" fmla="*/ 127635 h 325755"/>
                <a:gd name="connsiteX32" fmla="*/ 508635 w 1524000"/>
                <a:gd name="connsiteY32" fmla="*/ 88583 h 325755"/>
                <a:gd name="connsiteX33" fmla="*/ 434340 w 1524000"/>
                <a:gd name="connsiteY33" fmla="*/ 88583 h 325755"/>
                <a:gd name="connsiteX34" fmla="*/ 434340 w 1524000"/>
                <a:gd name="connsiteY34" fmla="*/ 319088 h 325755"/>
                <a:gd name="connsiteX35" fmla="*/ 510540 w 1524000"/>
                <a:gd name="connsiteY35" fmla="*/ 319088 h 325755"/>
                <a:gd name="connsiteX36" fmla="*/ 510540 w 1524000"/>
                <a:gd name="connsiteY36" fmla="*/ 217170 h 325755"/>
                <a:gd name="connsiteX37" fmla="*/ 562928 w 1524000"/>
                <a:gd name="connsiteY37" fmla="*/ 155258 h 325755"/>
                <a:gd name="connsiteX38" fmla="*/ 587693 w 1524000"/>
                <a:gd name="connsiteY38" fmla="*/ 157163 h 325755"/>
                <a:gd name="connsiteX39" fmla="*/ 587693 w 1524000"/>
                <a:gd name="connsiteY39" fmla="*/ 82868 h 325755"/>
                <a:gd name="connsiteX40" fmla="*/ 570548 w 1524000"/>
                <a:gd name="connsiteY40" fmla="*/ 81915 h 325755"/>
                <a:gd name="connsiteX41" fmla="*/ 509588 w 1524000"/>
                <a:gd name="connsiteY41" fmla="*/ 127635 h 325755"/>
                <a:gd name="connsiteX42" fmla="*/ 1283018 w 1524000"/>
                <a:gd name="connsiteY42" fmla="*/ 203835 h 325755"/>
                <a:gd name="connsiteX43" fmla="*/ 1158240 w 1524000"/>
                <a:gd name="connsiteY43" fmla="*/ 325755 h 325755"/>
                <a:gd name="connsiteX44" fmla="*/ 1033463 w 1524000"/>
                <a:gd name="connsiteY44" fmla="*/ 203835 h 325755"/>
                <a:gd name="connsiteX45" fmla="*/ 1158240 w 1524000"/>
                <a:gd name="connsiteY45" fmla="*/ 81915 h 325755"/>
                <a:gd name="connsiteX46" fmla="*/ 1283018 w 1524000"/>
                <a:gd name="connsiteY46" fmla="*/ 203835 h 325755"/>
                <a:gd name="connsiteX47" fmla="*/ 1205865 w 1524000"/>
                <a:gd name="connsiteY47" fmla="*/ 203835 h 325755"/>
                <a:gd name="connsiteX48" fmla="*/ 1158240 w 1524000"/>
                <a:gd name="connsiteY48" fmla="*/ 140970 h 325755"/>
                <a:gd name="connsiteX49" fmla="*/ 1110615 w 1524000"/>
                <a:gd name="connsiteY49" fmla="*/ 203835 h 325755"/>
                <a:gd name="connsiteX50" fmla="*/ 1158240 w 1524000"/>
                <a:gd name="connsiteY50" fmla="*/ 266700 h 325755"/>
                <a:gd name="connsiteX51" fmla="*/ 1205865 w 1524000"/>
                <a:gd name="connsiteY51" fmla="*/ 203835 h 325755"/>
                <a:gd name="connsiteX52" fmla="*/ 711518 w 1524000"/>
                <a:gd name="connsiteY52" fmla="*/ 319088 h 325755"/>
                <a:gd name="connsiteX53" fmla="*/ 787718 w 1524000"/>
                <a:gd name="connsiteY53" fmla="*/ 319088 h 325755"/>
                <a:gd name="connsiteX54" fmla="*/ 787718 w 1524000"/>
                <a:gd name="connsiteY54" fmla="*/ 87630 h 325755"/>
                <a:gd name="connsiteX55" fmla="*/ 711518 w 1524000"/>
                <a:gd name="connsiteY55" fmla="*/ 87630 h 325755"/>
                <a:gd name="connsiteX56" fmla="*/ 711518 w 1524000"/>
                <a:gd name="connsiteY56" fmla="*/ 319088 h 325755"/>
                <a:gd name="connsiteX57" fmla="*/ 711518 w 1524000"/>
                <a:gd name="connsiteY57" fmla="*/ 60008 h 325755"/>
                <a:gd name="connsiteX58" fmla="*/ 787718 w 1524000"/>
                <a:gd name="connsiteY58" fmla="*/ 60008 h 325755"/>
                <a:gd name="connsiteX59" fmla="*/ 787718 w 1524000"/>
                <a:gd name="connsiteY59" fmla="*/ 0 h 325755"/>
                <a:gd name="connsiteX60" fmla="*/ 711518 w 1524000"/>
                <a:gd name="connsiteY60" fmla="*/ 0 h 325755"/>
                <a:gd name="connsiteX61" fmla="*/ 711518 w 1524000"/>
                <a:gd name="connsiteY61" fmla="*/ 60008 h 325755"/>
                <a:gd name="connsiteX62" fmla="*/ 416243 w 1524000"/>
                <a:gd name="connsiteY62" fmla="*/ 212408 h 325755"/>
                <a:gd name="connsiteX63" fmla="*/ 416243 w 1524000"/>
                <a:gd name="connsiteY63" fmla="*/ 223838 h 325755"/>
                <a:gd name="connsiteX64" fmla="*/ 247650 w 1524000"/>
                <a:gd name="connsiteY64" fmla="*/ 223838 h 325755"/>
                <a:gd name="connsiteX65" fmla="*/ 296228 w 1524000"/>
                <a:gd name="connsiteY65" fmla="*/ 270510 h 325755"/>
                <a:gd name="connsiteX66" fmla="*/ 339090 w 1524000"/>
                <a:gd name="connsiteY66" fmla="*/ 246698 h 325755"/>
                <a:gd name="connsiteX67" fmla="*/ 414338 w 1524000"/>
                <a:gd name="connsiteY67" fmla="*/ 246698 h 325755"/>
                <a:gd name="connsiteX68" fmla="*/ 293370 w 1524000"/>
                <a:gd name="connsiteY68" fmla="*/ 324803 h 325755"/>
                <a:gd name="connsiteX69" fmla="*/ 207645 w 1524000"/>
                <a:gd name="connsiteY69" fmla="*/ 294323 h 325755"/>
                <a:gd name="connsiteX70" fmla="*/ 122873 w 1524000"/>
                <a:gd name="connsiteY70" fmla="*/ 324803 h 325755"/>
                <a:gd name="connsiteX71" fmla="*/ 0 w 1524000"/>
                <a:gd name="connsiteY71" fmla="*/ 203835 h 325755"/>
                <a:gd name="connsiteX72" fmla="*/ 122873 w 1524000"/>
                <a:gd name="connsiteY72" fmla="*/ 81915 h 325755"/>
                <a:gd name="connsiteX73" fmla="*/ 207645 w 1524000"/>
                <a:gd name="connsiteY73" fmla="*/ 112395 h 325755"/>
                <a:gd name="connsiteX74" fmla="*/ 293370 w 1524000"/>
                <a:gd name="connsiteY74" fmla="*/ 81915 h 325755"/>
                <a:gd name="connsiteX75" fmla="*/ 416243 w 1524000"/>
                <a:gd name="connsiteY75" fmla="*/ 212408 h 325755"/>
                <a:gd name="connsiteX76" fmla="*/ 168593 w 1524000"/>
                <a:gd name="connsiteY76" fmla="*/ 203835 h 325755"/>
                <a:gd name="connsiteX77" fmla="*/ 122873 w 1524000"/>
                <a:gd name="connsiteY77" fmla="*/ 140970 h 325755"/>
                <a:gd name="connsiteX78" fmla="*/ 77153 w 1524000"/>
                <a:gd name="connsiteY78" fmla="*/ 203835 h 325755"/>
                <a:gd name="connsiteX79" fmla="*/ 122873 w 1524000"/>
                <a:gd name="connsiteY79" fmla="*/ 266700 h 325755"/>
                <a:gd name="connsiteX80" fmla="*/ 168593 w 1524000"/>
                <a:gd name="connsiteY80" fmla="*/ 203835 h 325755"/>
                <a:gd name="connsiteX81" fmla="*/ 339090 w 1524000"/>
                <a:gd name="connsiteY81" fmla="*/ 177165 h 325755"/>
                <a:gd name="connsiteX82" fmla="*/ 293370 w 1524000"/>
                <a:gd name="connsiteY82" fmla="*/ 133350 h 325755"/>
                <a:gd name="connsiteX83" fmla="*/ 247650 w 1524000"/>
                <a:gd name="connsiteY83" fmla="*/ 177165 h 325755"/>
                <a:gd name="connsiteX84" fmla="*/ 339090 w 1524000"/>
                <a:gd name="connsiteY84" fmla="*/ 177165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524000" h="325755">
                  <a:moveTo>
                    <a:pt x="1524000" y="169545"/>
                  </a:moveTo>
                  <a:lnTo>
                    <a:pt x="1524000" y="318135"/>
                  </a:lnTo>
                  <a:lnTo>
                    <a:pt x="1447800" y="318135"/>
                  </a:lnTo>
                  <a:lnTo>
                    <a:pt x="1447800" y="182880"/>
                  </a:lnTo>
                  <a:cubicBezTo>
                    <a:pt x="1447800" y="153353"/>
                    <a:pt x="1436370" y="141923"/>
                    <a:pt x="1414463" y="141923"/>
                  </a:cubicBezTo>
                  <a:cubicBezTo>
                    <a:pt x="1393508" y="141923"/>
                    <a:pt x="1374458" y="160020"/>
                    <a:pt x="1374458" y="188595"/>
                  </a:cubicBezTo>
                  <a:lnTo>
                    <a:pt x="1374458" y="319088"/>
                  </a:lnTo>
                  <a:lnTo>
                    <a:pt x="1300163" y="319088"/>
                  </a:lnTo>
                  <a:lnTo>
                    <a:pt x="1300163" y="87630"/>
                  </a:lnTo>
                  <a:lnTo>
                    <a:pt x="1371600" y="87630"/>
                  </a:lnTo>
                  <a:lnTo>
                    <a:pt x="1371600" y="122873"/>
                  </a:lnTo>
                  <a:cubicBezTo>
                    <a:pt x="1372553" y="122873"/>
                    <a:pt x="1388745" y="80963"/>
                    <a:pt x="1441133" y="80963"/>
                  </a:cubicBezTo>
                  <a:cubicBezTo>
                    <a:pt x="1495425" y="81915"/>
                    <a:pt x="1524000" y="110490"/>
                    <a:pt x="1524000" y="169545"/>
                  </a:cubicBezTo>
                  <a:close/>
                  <a:moveTo>
                    <a:pt x="1048703" y="87630"/>
                  </a:moveTo>
                  <a:lnTo>
                    <a:pt x="956310" y="87630"/>
                  </a:lnTo>
                  <a:lnTo>
                    <a:pt x="889635" y="170498"/>
                  </a:lnTo>
                  <a:lnTo>
                    <a:pt x="889635" y="0"/>
                  </a:lnTo>
                  <a:lnTo>
                    <a:pt x="816293" y="0"/>
                  </a:lnTo>
                  <a:lnTo>
                    <a:pt x="816293" y="319088"/>
                  </a:lnTo>
                  <a:lnTo>
                    <a:pt x="889635" y="319088"/>
                  </a:lnTo>
                  <a:lnTo>
                    <a:pt x="889635" y="255270"/>
                  </a:lnTo>
                  <a:lnTo>
                    <a:pt x="915353" y="226695"/>
                  </a:lnTo>
                  <a:lnTo>
                    <a:pt x="962978" y="319088"/>
                  </a:lnTo>
                  <a:lnTo>
                    <a:pt x="1050608" y="319088"/>
                  </a:lnTo>
                  <a:lnTo>
                    <a:pt x="966788" y="174308"/>
                  </a:lnTo>
                  <a:lnTo>
                    <a:pt x="1048703" y="87630"/>
                  </a:lnTo>
                  <a:close/>
                  <a:moveTo>
                    <a:pt x="605790" y="319088"/>
                  </a:moveTo>
                  <a:lnTo>
                    <a:pt x="681990" y="319088"/>
                  </a:lnTo>
                  <a:lnTo>
                    <a:pt x="681990" y="0"/>
                  </a:lnTo>
                  <a:lnTo>
                    <a:pt x="605790" y="0"/>
                  </a:lnTo>
                  <a:lnTo>
                    <a:pt x="605790" y="319088"/>
                  </a:lnTo>
                  <a:close/>
                  <a:moveTo>
                    <a:pt x="509588" y="127635"/>
                  </a:moveTo>
                  <a:lnTo>
                    <a:pt x="508635" y="88583"/>
                  </a:lnTo>
                  <a:lnTo>
                    <a:pt x="434340" y="88583"/>
                  </a:lnTo>
                  <a:lnTo>
                    <a:pt x="434340" y="319088"/>
                  </a:lnTo>
                  <a:lnTo>
                    <a:pt x="510540" y="319088"/>
                  </a:lnTo>
                  <a:lnTo>
                    <a:pt x="510540" y="217170"/>
                  </a:lnTo>
                  <a:cubicBezTo>
                    <a:pt x="510540" y="172403"/>
                    <a:pt x="527685" y="155258"/>
                    <a:pt x="562928" y="155258"/>
                  </a:cubicBezTo>
                  <a:cubicBezTo>
                    <a:pt x="575310" y="155258"/>
                    <a:pt x="587693" y="157163"/>
                    <a:pt x="587693" y="157163"/>
                  </a:cubicBezTo>
                  <a:lnTo>
                    <a:pt x="587693" y="82868"/>
                  </a:lnTo>
                  <a:cubicBezTo>
                    <a:pt x="587693" y="82868"/>
                    <a:pt x="581025" y="81915"/>
                    <a:pt x="570548" y="81915"/>
                  </a:cubicBezTo>
                  <a:cubicBezTo>
                    <a:pt x="519113" y="81915"/>
                    <a:pt x="509588" y="127635"/>
                    <a:pt x="509588" y="127635"/>
                  </a:cubicBezTo>
                  <a:close/>
                  <a:moveTo>
                    <a:pt x="1283018" y="203835"/>
                  </a:moveTo>
                  <a:cubicBezTo>
                    <a:pt x="1283018" y="277178"/>
                    <a:pt x="1234440" y="325755"/>
                    <a:pt x="1158240" y="325755"/>
                  </a:cubicBezTo>
                  <a:cubicBezTo>
                    <a:pt x="1082040" y="325755"/>
                    <a:pt x="1033463" y="277178"/>
                    <a:pt x="1033463" y="203835"/>
                  </a:cubicBezTo>
                  <a:cubicBezTo>
                    <a:pt x="1033463" y="130493"/>
                    <a:pt x="1082040" y="81915"/>
                    <a:pt x="1158240" y="81915"/>
                  </a:cubicBezTo>
                  <a:cubicBezTo>
                    <a:pt x="1234440" y="81915"/>
                    <a:pt x="1283018" y="129540"/>
                    <a:pt x="1283018" y="203835"/>
                  </a:cubicBezTo>
                  <a:close/>
                  <a:moveTo>
                    <a:pt x="1205865" y="203835"/>
                  </a:moveTo>
                  <a:cubicBezTo>
                    <a:pt x="1205865" y="161925"/>
                    <a:pt x="1184910" y="140970"/>
                    <a:pt x="1158240" y="140970"/>
                  </a:cubicBezTo>
                  <a:cubicBezTo>
                    <a:pt x="1131570" y="140970"/>
                    <a:pt x="1110615" y="161925"/>
                    <a:pt x="1110615" y="203835"/>
                  </a:cubicBezTo>
                  <a:cubicBezTo>
                    <a:pt x="1110615" y="245745"/>
                    <a:pt x="1131570" y="266700"/>
                    <a:pt x="1158240" y="266700"/>
                  </a:cubicBezTo>
                  <a:cubicBezTo>
                    <a:pt x="1184910" y="266700"/>
                    <a:pt x="1205865" y="244793"/>
                    <a:pt x="1205865" y="203835"/>
                  </a:cubicBezTo>
                  <a:close/>
                  <a:moveTo>
                    <a:pt x="711518" y="319088"/>
                  </a:moveTo>
                  <a:lnTo>
                    <a:pt x="787718" y="319088"/>
                  </a:lnTo>
                  <a:lnTo>
                    <a:pt x="787718" y="87630"/>
                  </a:lnTo>
                  <a:lnTo>
                    <a:pt x="711518" y="87630"/>
                  </a:lnTo>
                  <a:lnTo>
                    <a:pt x="711518" y="319088"/>
                  </a:lnTo>
                  <a:close/>
                  <a:moveTo>
                    <a:pt x="711518" y="60008"/>
                  </a:moveTo>
                  <a:lnTo>
                    <a:pt x="787718" y="60008"/>
                  </a:lnTo>
                  <a:lnTo>
                    <a:pt x="787718" y="0"/>
                  </a:lnTo>
                  <a:lnTo>
                    <a:pt x="711518" y="0"/>
                  </a:lnTo>
                  <a:lnTo>
                    <a:pt x="711518" y="60008"/>
                  </a:lnTo>
                  <a:close/>
                  <a:moveTo>
                    <a:pt x="416243" y="212408"/>
                  </a:moveTo>
                  <a:cubicBezTo>
                    <a:pt x="416243" y="220028"/>
                    <a:pt x="416243" y="223838"/>
                    <a:pt x="416243" y="223838"/>
                  </a:cubicBezTo>
                  <a:lnTo>
                    <a:pt x="247650" y="223838"/>
                  </a:lnTo>
                  <a:cubicBezTo>
                    <a:pt x="250508" y="251460"/>
                    <a:pt x="264795" y="270510"/>
                    <a:pt x="296228" y="270510"/>
                  </a:cubicBezTo>
                  <a:cubicBezTo>
                    <a:pt x="330518" y="270510"/>
                    <a:pt x="339090" y="246698"/>
                    <a:pt x="339090" y="246698"/>
                  </a:cubicBezTo>
                  <a:lnTo>
                    <a:pt x="414338" y="246698"/>
                  </a:lnTo>
                  <a:cubicBezTo>
                    <a:pt x="407670" y="276225"/>
                    <a:pt x="377190" y="324803"/>
                    <a:pt x="293370" y="324803"/>
                  </a:cubicBezTo>
                  <a:cubicBezTo>
                    <a:pt x="259080" y="324803"/>
                    <a:pt x="228600" y="313373"/>
                    <a:pt x="207645" y="294323"/>
                  </a:cubicBezTo>
                  <a:cubicBezTo>
                    <a:pt x="186690" y="313373"/>
                    <a:pt x="157163" y="324803"/>
                    <a:pt x="122873" y="324803"/>
                  </a:cubicBezTo>
                  <a:cubicBezTo>
                    <a:pt x="48578" y="325755"/>
                    <a:pt x="0" y="277178"/>
                    <a:pt x="0" y="203835"/>
                  </a:cubicBezTo>
                  <a:cubicBezTo>
                    <a:pt x="0" y="129540"/>
                    <a:pt x="48578" y="81915"/>
                    <a:pt x="122873" y="81915"/>
                  </a:cubicBezTo>
                  <a:cubicBezTo>
                    <a:pt x="157163" y="81915"/>
                    <a:pt x="186690" y="93345"/>
                    <a:pt x="207645" y="112395"/>
                  </a:cubicBezTo>
                  <a:cubicBezTo>
                    <a:pt x="228600" y="93345"/>
                    <a:pt x="259080" y="81915"/>
                    <a:pt x="293370" y="81915"/>
                  </a:cubicBezTo>
                  <a:cubicBezTo>
                    <a:pt x="368618" y="81915"/>
                    <a:pt x="416243" y="128588"/>
                    <a:pt x="416243" y="212408"/>
                  </a:cubicBezTo>
                  <a:close/>
                  <a:moveTo>
                    <a:pt x="168593" y="203835"/>
                  </a:moveTo>
                  <a:cubicBezTo>
                    <a:pt x="168593" y="161925"/>
                    <a:pt x="147638" y="140970"/>
                    <a:pt x="122873" y="140970"/>
                  </a:cubicBezTo>
                  <a:cubicBezTo>
                    <a:pt x="98108" y="140970"/>
                    <a:pt x="77153" y="161925"/>
                    <a:pt x="77153" y="203835"/>
                  </a:cubicBezTo>
                  <a:cubicBezTo>
                    <a:pt x="77153" y="245745"/>
                    <a:pt x="98108" y="266700"/>
                    <a:pt x="122873" y="266700"/>
                  </a:cubicBezTo>
                  <a:cubicBezTo>
                    <a:pt x="147638" y="266700"/>
                    <a:pt x="168593" y="244793"/>
                    <a:pt x="168593" y="203835"/>
                  </a:cubicBezTo>
                  <a:close/>
                  <a:moveTo>
                    <a:pt x="339090" y="177165"/>
                  </a:moveTo>
                  <a:cubicBezTo>
                    <a:pt x="336233" y="153353"/>
                    <a:pt x="321945" y="133350"/>
                    <a:pt x="293370" y="133350"/>
                  </a:cubicBezTo>
                  <a:cubicBezTo>
                    <a:pt x="264795" y="133350"/>
                    <a:pt x="250508" y="153353"/>
                    <a:pt x="247650" y="177165"/>
                  </a:cubicBezTo>
                  <a:lnTo>
                    <a:pt x="339090" y="177165"/>
                  </a:lnTo>
                  <a:close/>
                </a:path>
              </a:pathLst>
            </a:custGeom>
            <a:solidFill>
              <a:srgbClr val="EB0000"/>
            </a:solidFill>
            <a:ln w="9525" cap="flat">
              <a:noFill/>
              <a:prstDash val="solid"/>
              <a:miter/>
            </a:ln>
          </p:spPr>
          <p:txBody>
            <a:bodyPr rtlCol="0" anchor="ctr"/>
            <a:lstStyle/>
            <a:p>
              <a:endParaRPr lang="en-GB"/>
            </a:p>
          </p:txBody>
        </p:sp>
        <p:sp>
          <p:nvSpPr>
            <p:cNvPr id="119" name="Freeform: Shape 118">
              <a:extLst>
                <a:ext uri="{FF2B5EF4-FFF2-40B4-BE49-F238E27FC236}">
                  <a16:creationId xmlns:a16="http://schemas.microsoft.com/office/drawing/2014/main" id="{86616232-59F6-4002-99D3-D6A5D6F95BA0}"/>
                </a:ext>
              </a:extLst>
            </p:cNvPr>
            <p:cNvSpPr/>
            <p:nvPr/>
          </p:nvSpPr>
          <p:spPr>
            <a:xfrm>
              <a:off x="3818572" y="2709862"/>
              <a:ext cx="1243965" cy="161925"/>
            </a:xfrm>
            <a:custGeom>
              <a:avLst/>
              <a:gdLst>
                <a:gd name="connsiteX0" fmla="*/ 123825 w 1243965"/>
                <a:gd name="connsiteY0" fmla="*/ 34290 h 161925"/>
                <a:gd name="connsiteX1" fmla="*/ 126683 w 1243965"/>
                <a:gd name="connsiteY1" fmla="*/ 59055 h 161925"/>
                <a:gd name="connsiteX2" fmla="*/ 126683 w 1243965"/>
                <a:gd name="connsiteY2" fmla="*/ 157163 h 161925"/>
                <a:gd name="connsiteX3" fmla="*/ 107633 w 1243965"/>
                <a:gd name="connsiteY3" fmla="*/ 157163 h 161925"/>
                <a:gd name="connsiteX4" fmla="*/ 107633 w 1243965"/>
                <a:gd name="connsiteY4" fmla="*/ 61913 h 161925"/>
                <a:gd name="connsiteX5" fmla="*/ 105728 w 1243965"/>
                <a:gd name="connsiteY5" fmla="*/ 43815 h 161925"/>
                <a:gd name="connsiteX6" fmla="*/ 99060 w 1243965"/>
                <a:gd name="connsiteY6" fmla="*/ 29527 h 161925"/>
                <a:gd name="connsiteX7" fmla="*/ 86678 w 1243965"/>
                <a:gd name="connsiteY7" fmla="*/ 20002 h 161925"/>
                <a:gd name="connsiteX8" fmla="*/ 67628 w 1243965"/>
                <a:gd name="connsiteY8" fmla="*/ 16193 h 161925"/>
                <a:gd name="connsiteX9" fmla="*/ 47625 w 1243965"/>
                <a:gd name="connsiteY9" fmla="*/ 20002 h 161925"/>
                <a:gd name="connsiteX10" fmla="*/ 32385 w 1243965"/>
                <a:gd name="connsiteY10" fmla="*/ 31432 h 161925"/>
                <a:gd name="connsiteX11" fmla="*/ 22860 w 1243965"/>
                <a:gd name="connsiteY11" fmla="*/ 47625 h 161925"/>
                <a:gd name="connsiteX12" fmla="*/ 19050 w 1243965"/>
                <a:gd name="connsiteY12" fmla="*/ 68580 h 161925"/>
                <a:gd name="connsiteX13" fmla="*/ 19050 w 1243965"/>
                <a:gd name="connsiteY13" fmla="*/ 158115 h 161925"/>
                <a:gd name="connsiteX14" fmla="*/ 0 w 1243965"/>
                <a:gd name="connsiteY14" fmla="*/ 158115 h 161925"/>
                <a:gd name="connsiteX15" fmla="*/ 0 w 1243965"/>
                <a:gd name="connsiteY15" fmla="*/ 5715 h 161925"/>
                <a:gd name="connsiteX16" fmla="*/ 19050 w 1243965"/>
                <a:gd name="connsiteY16" fmla="*/ 5715 h 161925"/>
                <a:gd name="connsiteX17" fmla="*/ 19050 w 1243965"/>
                <a:gd name="connsiteY17" fmla="*/ 32385 h 161925"/>
                <a:gd name="connsiteX18" fmla="*/ 20003 w 1243965"/>
                <a:gd name="connsiteY18" fmla="*/ 32385 h 161925"/>
                <a:gd name="connsiteX19" fmla="*/ 27623 w 1243965"/>
                <a:gd name="connsiteY19" fmla="*/ 20002 h 161925"/>
                <a:gd name="connsiteX20" fmla="*/ 39053 w 1243965"/>
                <a:gd name="connsiteY20" fmla="*/ 10477 h 161925"/>
                <a:gd name="connsiteX21" fmla="*/ 53340 w 1243965"/>
                <a:gd name="connsiteY21" fmla="*/ 3810 h 161925"/>
                <a:gd name="connsiteX22" fmla="*/ 70485 w 1243965"/>
                <a:gd name="connsiteY22" fmla="*/ 0 h 161925"/>
                <a:gd name="connsiteX23" fmla="*/ 97155 w 1243965"/>
                <a:gd name="connsiteY23" fmla="*/ 3810 h 161925"/>
                <a:gd name="connsiteX24" fmla="*/ 114300 w 1243965"/>
                <a:gd name="connsiteY24" fmla="*/ 15240 h 161925"/>
                <a:gd name="connsiteX25" fmla="*/ 123825 w 1243965"/>
                <a:gd name="connsiteY25" fmla="*/ 34290 h 161925"/>
                <a:gd name="connsiteX26" fmla="*/ 287655 w 1243965"/>
                <a:gd name="connsiteY26" fmla="*/ 49530 h 161925"/>
                <a:gd name="connsiteX27" fmla="*/ 292418 w 1243965"/>
                <a:gd name="connsiteY27" fmla="*/ 80963 h 161925"/>
                <a:gd name="connsiteX28" fmla="*/ 287655 w 1243965"/>
                <a:gd name="connsiteY28" fmla="*/ 112395 h 161925"/>
                <a:gd name="connsiteX29" fmla="*/ 273368 w 1243965"/>
                <a:gd name="connsiteY29" fmla="*/ 138113 h 161925"/>
                <a:gd name="connsiteX30" fmla="*/ 250508 w 1243965"/>
                <a:gd name="connsiteY30" fmla="*/ 155258 h 161925"/>
                <a:gd name="connsiteX31" fmla="*/ 220028 w 1243965"/>
                <a:gd name="connsiteY31" fmla="*/ 161925 h 161925"/>
                <a:gd name="connsiteX32" fmla="*/ 189548 w 1243965"/>
                <a:gd name="connsiteY32" fmla="*/ 155258 h 161925"/>
                <a:gd name="connsiteX33" fmla="*/ 166688 w 1243965"/>
                <a:gd name="connsiteY33" fmla="*/ 138113 h 161925"/>
                <a:gd name="connsiteX34" fmla="*/ 152400 w 1243965"/>
                <a:gd name="connsiteY34" fmla="*/ 112395 h 161925"/>
                <a:gd name="connsiteX35" fmla="*/ 147638 w 1243965"/>
                <a:gd name="connsiteY35" fmla="*/ 80963 h 161925"/>
                <a:gd name="connsiteX36" fmla="*/ 152400 w 1243965"/>
                <a:gd name="connsiteY36" fmla="*/ 49530 h 161925"/>
                <a:gd name="connsiteX37" fmla="*/ 166688 w 1243965"/>
                <a:gd name="connsiteY37" fmla="*/ 23813 h 161925"/>
                <a:gd name="connsiteX38" fmla="*/ 189548 w 1243965"/>
                <a:gd name="connsiteY38" fmla="*/ 6668 h 161925"/>
                <a:gd name="connsiteX39" fmla="*/ 220028 w 1243965"/>
                <a:gd name="connsiteY39" fmla="*/ 0 h 161925"/>
                <a:gd name="connsiteX40" fmla="*/ 250508 w 1243965"/>
                <a:gd name="connsiteY40" fmla="*/ 6668 h 161925"/>
                <a:gd name="connsiteX41" fmla="*/ 273368 w 1243965"/>
                <a:gd name="connsiteY41" fmla="*/ 23813 h 161925"/>
                <a:gd name="connsiteX42" fmla="*/ 287655 w 1243965"/>
                <a:gd name="connsiteY42" fmla="*/ 49530 h 161925"/>
                <a:gd name="connsiteX43" fmla="*/ 274320 w 1243965"/>
                <a:gd name="connsiteY43" fmla="*/ 80963 h 161925"/>
                <a:gd name="connsiteX44" fmla="*/ 270510 w 1243965"/>
                <a:gd name="connsiteY44" fmla="*/ 57150 h 161925"/>
                <a:gd name="connsiteX45" fmla="*/ 260033 w 1243965"/>
                <a:gd name="connsiteY45" fmla="*/ 36195 h 161925"/>
                <a:gd name="connsiteX46" fmla="*/ 242888 w 1243965"/>
                <a:gd name="connsiteY46" fmla="*/ 20955 h 161925"/>
                <a:gd name="connsiteX47" fmla="*/ 219075 w 1243965"/>
                <a:gd name="connsiteY47" fmla="*/ 15240 h 161925"/>
                <a:gd name="connsiteX48" fmla="*/ 195263 w 1243965"/>
                <a:gd name="connsiteY48" fmla="*/ 20955 h 161925"/>
                <a:gd name="connsiteX49" fmla="*/ 178118 w 1243965"/>
                <a:gd name="connsiteY49" fmla="*/ 36195 h 161925"/>
                <a:gd name="connsiteX50" fmla="*/ 167640 w 1243965"/>
                <a:gd name="connsiteY50" fmla="*/ 57150 h 161925"/>
                <a:gd name="connsiteX51" fmla="*/ 163830 w 1243965"/>
                <a:gd name="connsiteY51" fmla="*/ 80963 h 161925"/>
                <a:gd name="connsiteX52" fmla="*/ 167640 w 1243965"/>
                <a:gd name="connsiteY52" fmla="*/ 104775 h 161925"/>
                <a:gd name="connsiteX53" fmla="*/ 178118 w 1243965"/>
                <a:gd name="connsiteY53" fmla="*/ 125730 h 161925"/>
                <a:gd name="connsiteX54" fmla="*/ 195263 w 1243965"/>
                <a:gd name="connsiteY54" fmla="*/ 140970 h 161925"/>
                <a:gd name="connsiteX55" fmla="*/ 219075 w 1243965"/>
                <a:gd name="connsiteY55" fmla="*/ 146685 h 161925"/>
                <a:gd name="connsiteX56" fmla="*/ 242888 w 1243965"/>
                <a:gd name="connsiteY56" fmla="*/ 140970 h 161925"/>
                <a:gd name="connsiteX57" fmla="*/ 260033 w 1243965"/>
                <a:gd name="connsiteY57" fmla="*/ 125730 h 161925"/>
                <a:gd name="connsiteX58" fmla="*/ 270510 w 1243965"/>
                <a:gd name="connsiteY58" fmla="*/ 104775 h 161925"/>
                <a:gd name="connsiteX59" fmla="*/ 274320 w 1243965"/>
                <a:gd name="connsiteY59" fmla="*/ 80963 h 161925"/>
                <a:gd name="connsiteX60" fmla="*/ 426720 w 1243965"/>
                <a:gd name="connsiteY60" fmla="*/ 15240 h 161925"/>
                <a:gd name="connsiteX61" fmla="*/ 409575 w 1243965"/>
                <a:gd name="connsiteY61" fmla="*/ 3810 h 161925"/>
                <a:gd name="connsiteX62" fmla="*/ 381953 w 1243965"/>
                <a:gd name="connsiteY62" fmla="*/ 0 h 161925"/>
                <a:gd name="connsiteX63" fmla="*/ 366713 w 1243965"/>
                <a:gd name="connsiteY63" fmla="*/ 1905 h 161925"/>
                <a:gd name="connsiteX64" fmla="*/ 352425 w 1243965"/>
                <a:gd name="connsiteY64" fmla="*/ 8573 h 161925"/>
                <a:gd name="connsiteX65" fmla="*/ 340995 w 1243965"/>
                <a:gd name="connsiteY65" fmla="*/ 18098 h 161925"/>
                <a:gd name="connsiteX66" fmla="*/ 333375 w 1243965"/>
                <a:gd name="connsiteY66" fmla="*/ 30480 h 161925"/>
                <a:gd name="connsiteX67" fmla="*/ 332423 w 1243965"/>
                <a:gd name="connsiteY67" fmla="*/ 30480 h 161925"/>
                <a:gd name="connsiteX68" fmla="*/ 332423 w 1243965"/>
                <a:gd name="connsiteY68" fmla="*/ 3810 h 161925"/>
                <a:gd name="connsiteX69" fmla="*/ 313373 w 1243965"/>
                <a:gd name="connsiteY69" fmla="*/ 3810 h 161925"/>
                <a:gd name="connsiteX70" fmla="*/ 313373 w 1243965"/>
                <a:gd name="connsiteY70" fmla="*/ 156210 h 161925"/>
                <a:gd name="connsiteX71" fmla="*/ 332423 w 1243965"/>
                <a:gd name="connsiteY71" fmla="*/ 156210 h 161925"/>
                <a:gd name="connsiteX72" fmla="*/ 332423 w 1243965"/>
                <a:gd name="connsiteY72" fmla="*/ 66675 h 161925"/>
                <a:gd name="connsiteX73" fmla="*/ 336233 w 1243965"/>
                <a:gd name="connsiteY73" fmla="*/ 45720 h 161925"/>
                <a:gd name="connsiteX74" fmla="*/ 345758 w 1243965"/>
                <a:gd name="connsiteY74" fmla="*/ 29527 h 161925"/>
                <a:gd name="connsiteX75" fmla="*/ 360998 w 1243965"/>
                <a:gd name="connsiteY75" fmla="*/ 18098 h 161925"/>
                <a:gd name="connsiteX76" fmla="*/ 381000 w 1243965"/>
                <a:gd name="connsiteY76" fmla="*/ 14288 h 161925"/>
                <a:gd name="connsiteX77" fmla="*/ 400050 w 1243965"/>
                <a:gd name="connsiteY77" fmla="*/ 18098 h 161925"/>
                <a:gd name="connsiteX78" fmla="*/ 412433 w 1243965"/>
                <a:gd name="connsiteY78" fmla="*/ 27623 h 161925"/>
                <a:gd name="connsiteX79" fmla="*/ 419100 w 1243965"/>
                <a:gd name="connsiteY79" fmla="*/ 41910 h 161925"/>
                <a:gd name="connsiteX80" fmla="*/ 421005 w 1243965"/>
                <a:gd name="connsiteY80" fmla="*/ 60007 h 161925"/>
                <a:gd name="connsiteX81" fmla="*/ 421005 w 1243965"/>
                <a:gd name="connsiteY81" fmla="*/ 155258 h 161925"/>
                <a:gd name="connsiteX82" fmla="*/ 440055 w 1243965"/>
                <a:gd name="connsiteY82" fmla="*/ 155258 h 161925"/>
                <a:gd name="connsiteX83" fmla="*/ 440055 w 1243965"/>
                <a:gd name="connsiteY83" fmla="*/ 59055 h 161925"/>
                <a:gd name="connsiteX84" fmla="*/ 437198 w 1243965"/>
                <a:gd name="connsiteY84" fmla="*/ 34290 h 161925"/>
                <a:gd name="connsiteX85" fmla="*/ 426720 w 1243965"/>
                <a:gd name="connsiteY85" fmla="*/ 15240 h 161925"/>
                <a:gd name="connsiteX86" fmla="*/ 607695 w 1243965"/>
                <a:gd name="connsiteY86" fmla="*/ 135255 h 161925"/>
                <a:gd name="connsiteX87" fmla="*/ 607695 w 1243965"/>
                <a:gd name="connsiteY87" fmla="*/ 135255 h 161925"/>
                <a:gd name="connsiteX88" fmla="*/ 569595 w 1243965"/>
                <a:gd name="connsiteY88" fmla="*/ 4763 h 161925"/>
                <a:gd name="connsiteX89" fmla="*/ 548640 w 1243965"/>
                <a:gd name="connsiteY89" fmla="*/ 4763 h 161925"/>
                <a:gd name="connsiteX90" fmla="*/ 511493 w 1243965"/>
                <a:gd name="connsiteY90" fmla="*/ 135255 h 161925"/>
                <a:gd name="connsiteX91" fmla="*/ 510540 w 1243965"/>
                <a:gd name="connsiteY91" fmla="*/ 135255 h 161925"/>
                <a:gd name="connsiteX92" fmla="*/ 471488 w 1243965"/>
                <a:gd name="connsiteY92" fmla="*/ 4763 h 161925"/>
                <a:gd name="connsiteX93" fmla="*/ 451485 w 1243965"/>
                <a:gd name="connsiteY93" fmla="*/ 4763 h 161925"/>
                <a:gd name="connsiteX94" fmla="*/ 501015 w 1243965"/>
                <a:gd name="connsiteY94" fmla="*/ 157163 h 161925"/>
                <a:gd name="connsiteX95" fmla="*/ 521018 w 1243965"/>
                <a:gd name="connsiteY95" fmla="*/ 157163 h 161925"/>
                <a:gd name="connsiteX96" fmla="*/ 559118 w 1243965"/>
                <a:gd name="connsiteY96" fmla="*/ 28575 h 161925"/>
                <a:gd name="connsiteX97" fmla="*/ 560070 w 1243965"/>
                <a:gd name="connsiteY97" fmla="*/ 28575 h 161925"/>
                <a:gd name="connsiteX98" fmla="*/ 597218 w 1243965"/>
                <a:gd name="connsiteY98" fmla="*/ 157163 h 161925"/>
                <a:gd name="connsiteX99" fmla="*/ 617220 w 1243965"/>
                <a:gd name="connsiteY99" fmla="*/ 157163 h 161925"/>
                <a:gd name="connsiteX100" fmla="*/ 666750 w 1243965"/>
                <a:gd name="connsiteY100" fmla="*/ 4763 h 161925"/>
                <a:gd name="connsiteX101" fmla="*/ 646748 w 1243965"/>
                <a:gd name="connsiteY101" fmla="*/ 4763 h 161925"/>
                <a:gd name="connsiteX102" fmla="*/ 607695 w 1243965"/>
                <a:gd name="connsiteY102" fmla="*/ 135255 h 161925"/>
                <a:gd name="connsiteX103" fmla="*/ 813435 w 1243965"/>
                <a:gd name="connsiteY103" fmla="*/ 49530 h 161925"/>
                <a:gd name="connsiteX104" fmla="*/ 818198 w 1243965"/>
                <a:gd name="connsiteY104" fmla="*/ 80963 h 161925"/>
                <a:gd name="connsiteX105" fmla="*/ 813435 w 1243965"/>
                <a:gd name="connsiteY105" fmla="*/ 112395 h 161925"/>
                <a:gd name="connsiteX106" fmla="*/ 799148 w 1243965"/>
                <a:gd name="connsiteY106" fmla="*/ 138113 h 161925"/>
                <a:gd name="connsiteX107" fmla="*/ 776288 w 1243965"/>
                <a:gd name="connsiteY107" fmla="*/ 155258 h 161925"/>
                <a:gd name="connsiteX108" fmla="*/ 745808 w 1243965"/>
                <a:gd name="connsiteY108" fmla="*/ 161925 h 161925"/>
                <a:gd name="connsiteX109" fmla="*/ 715328 w 1243965"/>
                <a:gd name="connsiteY109" fmla="*/ 155258 h 161925"/>
                <a:gd name="connsiteX110" fmla="*/ 692468 w 1243965"/>
                <a:gd name="connsiteY110" fmla="*/ 138113 h 161925"/>
                <a:gd name="connsiteX111" fmla="*/ 678180 w 1243965"/>
                <a:gd name="connsiteY111" fmla="*/ 112395 h 161925"/>
                <a:gd name="connsiteX112" fmla="*/ 673418 w 1243965"/>
                <a:gd name="connsiteY112" fmla="*/ 80963 h 161925"/>
                <a:gd name="connsiteX113" fmla="*/ 678180 w 1243965"/>
                <a:gd name="connsiteY113" fmla="*/ 49530 h 161925"/>
                <a:gd name="connsiteX114" fmla="*/ 692468 w 1243965"/>
                <a:gd name="connsiteY114" fmla="*/ 23813 h 161925"/>
                <a:gd name="connsiteX115" fmla="*/ 715328 w 1243965"/>
                <a:gd name="connsiteY115" fmla="*/ 6668 h 161925"/>
                <a:gd name="connsiteX116" fmla="*/ 745808 w 1243965"/>
                <a:gd name="connsiteY116" fmla="*/ 0 h 161925"/>
                <a:gd name="connsiteX117" fmla="*/ 776288 w 1243965"/>
                <a:gd name="connsiteY117" fmla="*/ 6668 h 161925"/>
                <a:gd name="connsiteX118" fmla="*/ 799148 w 1243965"/>
                <a:gd name="connsiteY118" fmla="*/ 23813 h 161925"/>
                <a:gd name="connsiteX119" fmla="*/ 813435 w 1243965"/>
                <a:gd name="connsiteY119" fmla="*/ 49530 h 161925"/>
                <a:gd name="connsiteX120" fmla="*/ 799148 w 1243965"/>
                <a:gd name="connsiteY120" fmla="*/ 80963 h 161925"/>
                <a:gd name="connsiteX121" fmla="*/ 795338 w 1243965"/>
                <a:gd name="connsiteY121" fmla="*/ 57150 h 161925"/>
                <a:gd name="connsiteX122" fmla="*/ 784860 w 1243965"/>
                <a:gd name="connsiteY122" fmla="*/ 36195 h 161925"/>
                <a:gd name="connsiteX123" fmla="*/ 767715 w 1243965"/>
                <a:gd name="connsiteY123" fmla="*/ 20955 h 161925"/>
                <a:gd name="connsiteX124" fmla="*/ 743903 w 1243965"/>
                <a:gd name="connsiteY124" fmla="*/ 15240 h 161925"/>
                <a:gd name="connsiteX125" fmla="*/ 720090 w 1243965"/>
                <a:gd name="connsiteY125" fmla="*/ 20955 h 161925"/>
                <a:gd name="connsiteX126" fmla="*/ 702945 w 1243965"/>
                <a:gd name="connsiteY126" fmla="*/ 36195 h 161925"/>
                <a:gd name="connsiteX127" fmla="*/ 692468 w 1243965"/>
                <a:gd name="connsiteY127" fmla="*/ 57150 h 161925"/>
                <a:gd name="connsiteX128" fmla="*/ 688658 w 1243965"/>
                <a:gd name="connsiteY128" fmla="*/ 80963 h 161925"/>
                <a:gd name="connsiteX129" fmla="*/ 692468 w 1243965"/>
                <a:gd name="connsiteY129" fmla="*/ 104775 h 161925"/>
                <a:gd name="connsiteX130" fmla="*/ 702945 w 1243965"/>
                <a:gd name="connsiteY130" fmla="*/ 125730 h 161925"/>
                <a:gd name="connsiteX131" fmla="*/ 720090 w 1243965"/>
                <a:gd name="connsiteY131" fmla="*/ 140970 h 161925"/>
                <a:gd name="connsiteX132" fmla="*/ 743903 w 1243965"/>
                <a:gd name="connsiteY132" fmla="*/ 146685 h 161925"/>
                <a:gd name="connsiteX133" fmla="*/ 767715 w 1243965"/>
                <a:gd name="connsiteY133" fmla="*/ 140970 h 161925"/>
                <a:gd name="connsiteX134" fmla="*/ 784860 w 1243965"/>
                <a:gd name="connsiteY134" fmla="*/ 125730 h 161925"/>
                <a:gd name="connsiteX135" fmla="*/ 795338 w 1243965"/>
                <a:gd name="connsiteY135" fmla="*/ 104775 h 161925"/>
                <a:gd name="connsiteX136" fmla="*/ 799148 w 1243965"/>
                <a:gd name="connsiteY136" fmla="*/ 80963 h 161925"/>
                <a:gd name="connsiteX137" fmla="*/ 891540 w 1243965"/>
                <a:gd name="connsiteY137" fmla="*/ 138113 h 161925"/>
                <a:gd name="connsiteX138" fmla="*/ 891540 w 1243965"/>
                <a:gd name="connsiteY138" fmla="*/ 138113 h 161925"/>
                <a:gd name="connsiteX139" fmla="*/ 842963 w 1243965"/>
                <a:gd name="connsiteY139" fmla="*/ 3810 h 161925"/>
                <a:gd name="connsiteX140" fmla="*/ 822008 w 1243965"/>
                <a:gd name="connsiteY140" fmla="*/ 3810 h 161925"/>
                <a:gd name="connsiteX141" fmla="*/ 881063 w 1243965"/>
                <a:gd name="connsiteY141" fmla="*/ 156210 h 161925"/>
                <a:gd name="connsiteX142" fmla="*/ 901065 w 1243965"/>
                <a:gd name="connsiteY142" fmla="*/ 156210 h 161925"/>
                <a:gd name="connsiteX143" fmla="*/ 958215 w 1243965"/>
                <a:gd name="connsiteY143" fmla="*/ 3810 h 161925"/>
                <a:gd name="connsiteX144" fmla="*/ 939165 w 1243965"/>
                <a:gd name="connsiteY144" fmla="*/ 3810 h 161925"/>
                <a:gd name="connsiteX145" fmla="*/ 891540 w 1243965"/>
                <a:gd name="connsiteY145" fmla="*/ 138113 h 161925"/>
                <a:gd name="connsiteX146" fmla="*/ 1099185 w 1243965"/>
                <a:gd name="connsiteY146" fmla="*/ 85725 h 161925"/>
                <a:gd name="connsiteX147" fmla="*/ 982028 w 1243965"/>
                <a:gd name="connsiteY147" fmla="*/ 85725 h 161925"/>
                <a:gd name="connsiteX148" fmla="*/ 984885 w 1243965"/>
                <a:gd name="connsiteY148" fmla="*/ 106680 h 161925"/>
                <a:gd name="connsiteX149" fmla="*/ 993458 w 1243965"/>
                <a:gd name="connsiteY149" fmla="*/ 125730 h 161925"/>
                <a:gd name="connsiteX150" fmla="*/ 1008698 w 1243965"/>
                <a:gd name="connsiteY150" fmla="*/ 140018 h 161925"/>
                <a:gd name="connsiteX151" fmla="*/ 1031558 w 1243965"/>
                <a:gd name="connsiteY151" fmla="*/ 145733 h 161925"/>
                <a:gd name="connsiteX152" fmla="*/ 1063943 w 1243965"/>
                <a:gd name="connsiteY152" fmla="*/ 135255 h 161925"/>
                <a:gd name="connsiteX153" fmla="*/ 1080135 w 1243965"/>
                <a:gd name="connsiteY153" fmla="*/ 106680 h 161925"/>
                <a:gd name="connsiteX154" fmla="*/ 1099185 w 1243965"/>
                <a:gd name="connsiteY154" fmla="*/ 106680 h 161925"/>
                <a:gd name="connsiteX155" fmla="*/ 1077278 w 1243965"/>
                <a:gd name="connsiteY155" fmla="*/ 146685 h 161925"/>
                <a:gd name="connsiteX156" fmla="*/ 1032510 w 1243965"/>
                <a:gd name="connsiteY156" fmla="*/ 160973 h 161925"/>
                <a:gd name="connsiteX157" fmla="*/ 1001078 w 1243965"/>
                <a:gd name="connsiteY157" fmla="*/ 154305 h 161925"/>
                <a:gd name="connsiteX158" fmla="*/ 980123 w 1243965"/>
                <a:gd name="connsiteY158" fmla="*/ 137160 h 161925"/>
                <a:gd name="connsiteX159" fmla="*/ 967740 w 1243965"/>
                <a:gd name="connsiteY159" fmla="*/ 111443 h 161925"/>
                <a:gd name="connsiteX160" fmla="*/ 963930 w 1243965"/>
                <a:gd name="connsiteY160" fmla="*/ 80963 h 161925"/>
                <a:gd name="connsiteX161" fmla="*/ 967740 w 1243965"/>
                <a:gd name="connsiteY161" fmla="*/ 51435 h 161925"/>
                <a:gd name="connsiteX162" fmla="*/ 980123 w 1243965"/>
                <a:gd name="connsiteY162" fmla="*/ 25718 h 161925"/>
                <a:gd name="connsiteX163" fmla="*/ 1001078 w 1243965"/>
                <a:gd name="connsiteY163" fmla="*/ 7620 h 161925"/>
                <a:gd name="connsiteX164" fmla="*/ 1032510 w 1243965"/>
                <a:gd name="connsiteY164" fmla="*/ 952 h 161925"/>
                <a:gd name="connsiteX165" fmla="*/ 1063943 w 1243965"/>
                <a:gd name="connsiteY165" fmla="*/ 8573 h 161925"/>
                <a:gd name="connsiteX166" fmla="*/ 1084898 w 1243965"/>
                <a:gd name="connsiteY166" fmla="*/ 27623 h 161925"/>
                <a:gd name="connsiteX167" fmla="*/ 1096328 w 1243965"/>
                <a:gd name="connsiteY167" fmla="*/ 55245 h 161925"/>
                <a:gd name="connsiteX168" fmla="*/ 1099185 w 1243965"/>
                <a:gd name="connsiteY168" fmla="*/ 85725 h 161925"/>
                <a:gd name="connsiteX169" fmla="*/ 1081088 w 1243965"/>
                <a:gd name="connsiteY169" fmla="*/ 69532 h 161925"/>
                <a:gd name="connsiteX170" fmla="*/ 1077278 w 1243965"/>
                <a:gd name="connsiteY170" fmla="*/ 49530 h 161925"/>
                <a:gd name="connsiteX171" fmla="*/ 1067753 w 1243965"/>
                <a:gd name="connsiteY171" fmla="*/ 32385 h 161925"/>
                <a:gd name="connsiteX172" fmla="*/ 1052513 w 1243965"/>
                <a:gd name="connsiteY172" fmla="*/ 20002 h 161925"/>
                <a:gd name="connsiteX173" fmla="*/ 1032510 w 1243965"/>
                <a:gd name="connsiteY173" fmla="*/ 15240 h 161925"/>
                <a:gd name="connsiteX174" fmla="*/ 1012508 w 1243965"/>
                <a:gd name="connsiteY174" fmla="*/ 20002 h 161925"/>
                <a:gd name="connsiteX175" fmla="*/ 997268 w 1243965"/>
                <a:gd name="connsiteY175" fmla="*/ 32385 h 161925"/>
                <a:gd name="connsiteX176" fmla="*/ 987743 w 1243965"/>
                <a:gd name="connsiteY176" fmla="*/ 49530 h 161925"/>
                <a:gd name="connsiteX177" fmla="*/ 982980 w 1243965"/>
                <a:gd name="connsiteY177" fmla="*/ 69532 h 161925"/>
                <a:gd name="connsiteX178" fmla="*/ 1081088 w 1243965"/>
                <a:gd name="connsiteY178" fmla="*/ 69532 h 161925"/>
                <a:gd name="connsiteX179" fmla="*/ 1081088 w 1243965"/>
                <a:gd name="connsiteY179" fmla="*/ 69532 h 161925"/>
                <a:gd name="connsiteX180" fmla="*/ 1239203 w 1243965"/>
                <a:gd name="connsiteY180" fmla="*/ 34290 h 161925"/>
                <a:gd name="connsiteX181" fmla="*/ 1229678 w 1243965"/>
                <a:gd name="connsiteY181" fmla="*/ 16193 h 161925"/>
                <a:gd name="connsiteX182" fmla="*/ 1212533 w 1243965"/>
                <a:gd name="connsiteY182" fmla="*/ 4763 h 161925"/>
                <a:gd name="connsiteX183" fmla="*/ 1185863 w 1243965"/>
                <a:gd name="connsiteY183" fmla="*/ 952 h 161925"/>
                <a:gd name="connsiteX184" fmla="*/ 1170623 w 1243965"/>
                <a:gd name="connsiteY184" fmla="*/ 2857 h 161925"/>
                <a:gd name="connsiteX185" fmla="*/ 1156335 w 1243965"/>
                <a:gd name="connsiteY185" fmla="*/ 9525 h 161925"/>
                <a:gd name="connsiteX186" fmla="*/ 1144905 w 1243965"/>
                <a:gd name="connsiteY186" fmla="*/ 19050 h 161925"/>
                <a:gd name="connsiteX187" fmla="*/ 1137285 w 1243965"/>
                <a:gd name="connsiteY187" fmla="*/ 31432 h 161925"/>
                <a:gd name="connsiteX188" fmla="*/ 1136333 w 1243965"/>
                <a:gd name="connsiteY188" fmla="*/ 31432 h 161925"/>
                <a:gd name="connsiteX189" fmla="*/ 1136333 w 1243965"/>
                <a:gd name="connsiteY189" fmla="*/ 4763 h 161925"/>
                <a:gd name="connsiteX190" fmla="*/ 1117283 w 1243965"/>
                <a:gd name="connsiteY190" fmla="*/ 4763 h 161925"/>
                <a:gd name="connsiteX191" fmla="*/ 1117283 w 1243965"/>
                <a:gd name="connsiteY191" fmla="*/ 157163 h 161925"/>
                <a:gd name="connsiteX192" fmla="*/ 1136333 w 1243965"/>
                <a:gd name="connsiteY192" fmla="*/ 157163 h 161925"/>
                <a:gd name="connsiteX193" fmla="*/ 1136333 w 1243965"/>
                <a:gd name="connsiteY193" fmla="*/ 67627 h 161925"/>
                <a:gd name="connsiteX194" fmla="*/ 1140143 w 1243965"/>
                <a:gd name="connsiteY194" fmla="*/ 46673 h 161925"/>
                <a:gd name="connsiteX195" fmla="*/ 1149668 w 1243965"/>
                <a:gd name="connsiteY195" fmla="*/ 30480 h 161925"/>
                <a:gd name="connsiteX196" fmla="*/ 1164908 w 1243965"/>
                <a:gd name="connsiteY196" fmla="*/ 19050 h 161925"/>
                <a:gd name="connsiteX197" fmla="*/ 1184910 w 1243965"/>
                <a:gd name="connsiteY197" fmla="*/ 15240 h 161925"/>
                <a:gd name="connsiteX198" fmla="*/ 1203960 w 1243965"/>
                <a:gd name="connsiteY198" fmla="*/ 19050 h 161925"/>
                <a:gd name="connsiteX199" fmla="*/ 1216343 w 1243965"/>
                <a:gd name="connsiteY199" fmla="*/ 28575 h 161925"/>
                <a:gd name="connsiteX200" fmla="*/ 1223010 w 1243965"/>
                <a:gd name="connsiteY200" fmla="*/ 42863 h 161925"/>
                <a:gd name="connsiteX201" fmla="*/ 1224915 w 1243965"/>
                <a:gd name="connsiteY201" fmla="*/ 60960 h 161925"/>
                <a:gd name="connsiteX202" fmla="*/ 1224915 w 1243965"/>
                <a:gd name="connsiteY202" fmla="*/ 156210 h 161925"/>
                <a:gd name="connsiteX203" fmla="*/ 1243965 w 1243965"/>
                <a:gd name="connsiteY203" fmla="*/ 156210 h 161925"/>
                <a:gd name="connsiteX204" fmla="*/ 1243965 w 1243965"/>
                <a:gd name="connsiteY204" fmla="*/ 59055 h 161925"/>
                <a:gd name="connsiteX205" fmla="*/ 1239203 w 1243965"/>
                <a:gd name="connsiteY205" fmla="*/ 3429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1243965" h="161925">
                  <a:moveTo>
                    <a:pt x="123825" y="34290"/>
                  </a:moveTo>
                  <a:cubicBezTo>
                    <a:pt x="125730" y="41910"/>
                    <a:pt x="126683" y="49530"/>
                    <a:pt x="126683" y="59055"/>
                  </a:cubicBezTo>
                  <a:lnTo>
                    <a:pt x="126683" y="157163"/>
                  </a:lnTo>
                  <a:lnTo>
                    <a:pt x="107633" y="157163"/>
                  </a:lnTo>
                  <a:lnTo>
                    <a:pt x="107633" y="61913"/>
                  </a:lnTo>
                  <a:cubicBezTo>
                    <a:pt x="107633" y="55245"/>
                    <a:pt x="106680" y="49530"/>
                    <a:pt x="105728" y="43815"/>
                  </a:cubicBezTo>
                  <a:cubicBezTo>
                    <a:pt x="104775" y="38100"/>
                    <a:pt x="102870" y="33338"/>
                    <a:pt x="99060" y="29527"/>
                  </a:cubicBezTo>
                  <a:cubicBezTo>
                    <a:pt x="96203" y="25718"/>
                    <a:pt x="92393" y="21907"/>
                    <a:pt x="86678" y="20002"/>
                  </a:cubicBezTo>
                  <a:cubicBezTo>
                    <a:pt x="81915" y="18098"/>
                    <a:pt x="75248" y="16193"/>
                    <a:pt x="67628" y="16193"/>
                  </a:cubicBezTo>
                  <a:cubicBezTo>
                    <a:pt x="60008" y="16193"/>
                    <a:pt x="53340" y="17145"/>
                    <a:pt x="47625" y="20002"/>
                  </a:cubicBezTo>
                  <a:cubicBezTo>
                    <a:pt x="41910" y="22860"/>
                    <a:pt x="37148" y="26670"/>
                    <a:pt x="32385" y="31432"/>
                  </a:cubicBezTo>
                  <a:cubicBezTo>
                    <a:pt x="28575" y="36195"/>
                    <a:pt x="24765" y="41910"/>
                    <a:pt x="22860" y="47625"/>
                  </a:cubicBezTo>
                  <a:cubicBezTo>
                    <a:pt x="20955" y="54293"/>
                    <a:pt x="19050" y="60960"/>
                    <a:pt x="19050" y="68580"/>
                  </a:cubicBezTo>
                  <a:lnTo>
                    <a:pt x="19050" y="158115"/>
                  </a:lnTo>
                  <a:lnTo>
                    <a:pt x="0" y="158115"/>
                  </a:lnTo>
                  <a:lnTo>
                    <a:pt x="0" y="5715"/>
                  </a:lnTo>
                  <a:lnTo>
                    <a:pt x="19050" y="5715"/>
                  </a:lnTo>
                  <a:lnTo>
                    <a:pt x="19050" y="32385"/>
                  </a:lnTo>
                  <a:lnTo>
                    <a:pt x="20003" y="32385"/>
                  </a:lnTo>
                  <a:cubicBezTo>
                    <a:pt x="21908" y="27623"/>
                    <a:pt x="24765" y="23813"/>
                    <a:pt x="27623" y="20002"/>
                  </a:cubicBezTo>
                  <a:cubicBezTo>
                    <a:pt x="30480" y="16193"/>
                    <a:pt x="34290" y="13335"/>
                    <a:pt x="39053" y="10477"/>
                  </a:cubicBezTo>
                  <a:cubicBezTo>
                    <a:pt x="43815" y="7620"/>
                    <a:pt x="48578" y="5715"/>
                    <a:pt x="53340" y="3810"/>
                  </a:cubicBezTo>
                  <a:cubicBezTo>
                    <a:pt x="60008" y="952"/>
                    <a:pt x="65723" y="0"/>
                    <a:pt x="70485" y="0"/>
                  </a:cubicBezTo>
                  <a:cubicBezTo>
                    <a:pt x="80963" y="0"/>
                    <a:pt x="90488" y="952"/>
                    <a:pt x="97155" y="3810"/>
                  </a:cubicBezTo>
                  <a:cubicBezTo>
                    <a:pt x="104775" y="6668"/>
                    <a:pt x="110490" y="10477"/>
                    <a:pt x="114300" y="15240"/>
                  </a:cubicBezTo>
                  <a:cubicBezTo>
                    <a:pt x="119063" y="20955"/>
                    <a:pt x="121920" y="26670"/>
                    <a:pt x="123825" y="34290"/>
                  </a:cubicBezTo>
                  <a:close/>
                  <a:moveTo>
                    <a:pt x="287655" y="49530"/>
                  </a:moveTo>
                  <a:cubicBezTo>
                    <a:pt x="290513" y="59055"/>
                    <a:pt x="292418" y="69532"/>
                    <a:pt x="292418" y="80963"/>
                  </a:cubicBezTo>
                  <a:cubicBezTo>
                    <a:pt x="292418" y="92393"/>
                    <a:pt x="290513" y="102870"/>
                    <a:pt x="287655" y="112395"/>
                  </a:cubicBezTo>
                  <a:cubicBezTo>
                    <a:pt x="284798" y="121920"/>
                    <a:pt x="280035" y="130493"/>
                    <a:pt x="273368" y="138113"/>
                  </a:cubicBezTo>
                  <a:cubicBezTo>
                    <a:pt x="267653" y="145733"/>
                    <a:pt x="260033" y="151448"/>
                    <a:pt x="250508" y="155258"/>
                  </a:cubicBezTo>
                  <a:cubicBezTo>
                    <a:pt x="241935" y="160020"/>
                    <a:pt x="231458" y="161925"/>
                    <a:pt x="220028" y="161925"/>
                  </a:cubicBezTo>
                  <a:cubicBezTo>
                    <a:pt x="208598" y="161925"/>
                    <a:pt x="198120" y="160020"/>
                    <a:pt x="189548" y="155258"/>
                  </a:cubicBezTo>
                  <a:cubicBezTo>
                    <a:pt x="180975" y="150495"/>
                    <a:pt x="173355" y="144780"/>
                    <a:pt x="166688" y="138113"/>
                  </a:cubicBezTo>
                  <a:cubicBezTo>
                    <a:pt x="160020" y="131445"/>
                    <a:pt x="156210" y="121920"/>
                    <a:pt x="152400" y="112395"/>
                  </a:cubicBezTo>
                  <a:cubicBezTo>
                    <a:pt x="148590" y="102870"/>
                    <a:pt x="147638" y="92393"/>
                    <a:pt x="147638" y="80963"/>
                  </a:cubicBezTo>
                  <a:cubicBezTo>
                    <a:pt x="147638" y="70485"/>
                    <a:pt x="149543" y="60007"/>
                    <a:pt x="152400" y="49530"/>
                  </a:cubicBezTo>
                  <a:cubicBezTo>
                    <a:pt x="155258" y="39052"/>
                    <a:pt x="160020" y="31432"/>
                    <a:pt x="166688" y="23813"/>
                  </a:cubicBezTo>
                  <a:cubicBezTo>
                    <a:pt x="172403" y="16193"/>
                    <a:pt x="180023" y="10477"/>
                    <a:pt x="189548" y="6668"/>
                  </a:cubicBezTo>
                  <a:cubicBezTo>
                    <a:pt x="198120" y="1905"/>
                    <a:pt x="208598" y="0"/>
                    <a:pt x="220028" y="0"/>
                  </a:cubicBezTo>
                  <a:cubicBezTo>
                    <a:pt x="231458" y="0"/>
                    <a:pt x="241935" y="1905"/>
                    <a:pt x="250508" y="6668"/>
                  </a:cubicBezTo>
                  <a:cubicBezTo>
                    <a:pt x="259080" y="11430"/>
                    <a:pt x="266700" y="17145"/>
                    <a:pt x="273368" y="23813"/>
                  </a:cubicBezTo>
                  <a:cubicBezTo>
                    <a:pt x="280035" y="31432"/>
                    <a:pt x="284798" y="40005"/>
                    <a:pt x="287655" y="49530"/>
                  </a:cubicBezTo>
                  <a:close/>
                  <a:moveTo>
                    <a:pt x="274320" y="80963"/>
                  </a:moveTo>
                  <a:cubicBezTo>
                    <a:pt x="274320" y="73343"/>
                    <a:pt x="273368" y="64770"/>
                    <a:pt x="270510" y="57150"/>
                  </a:cubicBezTo>
                  <a:cubicBezTo>
                    <a:pt x="268605" y="49530"/>
                    <a:pt x="264795" y="42863"/>
                    <a:pt x="260033" y="36195"/>
                  </a:cubicBezTo>
                  <a:cubicBezTo>
                    <a:pt x="255270" y="30480"/>
                    <a:pt x="249555" y="24765"/>
                    <a:pt x="242888" y="20955"/>
                  </a:cubicBezTo>
                  <a:cubicBezTo>
                    <a:pt x="236220" y="17145"/>
                    <a:pt x="228600" y="15240"/>
                    <a:pt x="219075" y="15240"/>
                  </a:cubicBezTo>
                  <a:cubicBezTo>
                    <a:pt x="209550" y="15240"/>
                    <a:pt x="201930" y="17145"/>
                    <a:pt x="195263" y="20955"/>
                  </a:cubicBezTo>
                  <a:cubicBezTo>
                    <a:pt x="188595" y="24765"/>
                    <a:pt x="182880" y="29527"/>
                    <a:pt x="178118" y="36195"/>
                  </a:cubicBezTo>
                  <a:cubicBezTo>
                    <a:pt x="173355" y="41910"/>
                    <a:pt x="170498" y="49530"/>
                    <a:pt x="167640" y="57150"/>
                  </a:cubicBezTo>
                  <a:cubicBezTo>
                    <a:pt x="165735" y="64770"/>
                    <a:pt x="163830" y="73343"/>
                    <a:pt x="163830" y="80963"/>
                  </a:cubicBezTo>
                  <a:cubicBezTo>
                    <a:pt x="163830" y="88582"/>
                    <a:pt x="164783" y="97155"/>
                    <a:pt x="167640" y="104775"/>
                  </a:cubicBezTo>
                  <a:cubicBezTo>
                    <a:pt x="170498" y="112395"/>
                    <a:pt x="173355" y="119063"/>
                    <a:pt x="178118" y="125730"/>
                  </a:cubicBezTo>
                  <a:cubicBezTo>
                    <a:pt x="182880" y="131445"/>
                    <a:pt x="188595" y="137160"/>
                    <a:pt x="195263" y="140970"/>
                  </a:cubicBezTo>
                  <a:cubicBezTo>
                    <a:pt x="201930" y="144780"/>
                    <a:pt x="209550" y="146685"/>
                    <a:pt x="219075" y="146685"/>
                  </a:cubicBezTo>
                  <a:cubicBezTo>
                    <a:pt x="228600" y="146685"/>
                    <a:pt x="236220" y="144780"/>
                    <a:pt x="242888" y="140970"/>
                  </a:cubicBezTo>
                  <a:cubicBezTo>
                    <a:pt x="249555" y="137160"/>
                    <a:pt x="255270" y="132398"/>
                    <a:pt x="260033" y="125730"/>
                  </a:cubicBezTo>
                  <a:cubicBezTo>
                    <a:pt x="264795" y="120015"/>
                    <a:pt x="267653" y="112395"/>
                    <a:pt x="270510" y="104775"/>
                  </a:cubicBezTo>
                  <a:cubicBezTo>
                    <a:pt x="272415" y="96202"/>
                    <a:pt x="274320" y="88582"/>
                    <a:pt x="274320" y="80963"/>
                  </a:cubicBezTo>
                  <a:close/>
                  <a:moveTo>
                    <a:pt x="426720" y="15240"/>
                  </a:moveTo>
                  <a:cubicBezTo>
                    <a:pt x="421958" y="10477"/>
                    <a:pt x="416243" y="6668"/>
                    <a:pt x="409575" y="3810"/>
                  </a:cubicBezTo>
                  <a:cubicBezTo>
                    <a:pt x="401955" y="952"/>
                    <a:pt x="393383" y="0"/>
                    <a:pt x="381953" y="0"/>
                  </a:cubicBezTo>
                  <a:cubicBezTo>
                    <a:pt x="376238" y="0"/>
                    <a:pt x="371475" y="952"/>
                    <a:pt x="366713" y="1905"/>
                  </a:cubicBezTo>
                  <a:cubicBezTo>
                    <a:pt x="361950" y="3810"/>
                    <a:pt x="357188" y="5715"/>
                    <a:pt x="352425" y="8573"/>
                  </a:cubicBezTo>
                  <a:cubicBezTo>
                    <a:pt x="347663" y="11430"/>
                    <a:pt x="343853" y="14288"/>
                    <a:pt x="340995" y="18098"/>
                  </a:cubicBezTo>
                  <a:cubicBezTo>
                    <a:pt x="338138" y="21907"/>
                    <a:pt x="335280" y="25718"/>
                    <a:pt x="333375" y="30480"/>
                  </a:cubicBezTo>
                  <a:lnTo>
                    <a:pt x="332423" y="30480"/>
                  </a:lnTo>
                  <a:lnTo>
                    <a:pt x="332423" y="3810"/>
                  </a:lnTo>
                  <a:lnTo>
                    <a:pt x="313373" y="3810"/>
                  </a:lnTo>
                  <a:lnTo>
                    <a:pt x="313373" y="156210"/>
                  </a:lnTo>
                  <a:lnTo>
                    <a:pt x="332423" y="156210"/>
                  </a:lnTo>
                  <a:lnTo>
                    <a:pt x="332423" y="66675"/>
                  </a:lnTo>
                  <a:cubicBezTo>
                    <a:pt x="332423" y="59055"/>
                    <a:pt x="333375" y="52388"/>
                    <a:pt x="336233" y="45720"/>
                  </a:cubicBezTo>
                  <a:cubicBezTo>
                    <a:pt x="338138" y="39052"/>
                    <a:pt x="341948" y="33338"/>
                    <a:pt x="345758" y="29527"/>
                  </a:cubicBezTo>
                  <a:cubicBezTo>
                    <a:pt x="349568" y="24765"/>
                    <a:pt x="355283" y="20955"/>
                    <a:pt x="360998" y="18098"/>
                  </a:cubicBezTo>
                  <a:cubicBezTo>
                    <a:pt x="366713" y="15240"/>
                    <a:pt x="373380" y="14288"/>
                    <a:pt x="381000" y="14288"/>
                  </a:cubicBezTo>
                  <a:cubicBezTo>
                    <a:pt x="388620" y="14288"/>
                    <a:pt x="394335" y="15240"/>
                    <a:pt x="400050" y="18098"/>
                  </a:cubicBezTo>
                  <a:cubicBezTo>
                    <a:pt x="405765" y="20955"/>
                    <a:pt x="408623" y="23813"/>
                    <a:pt x="412433" y="27623"/>
                  </a:cubicBezTo>
                  <a:cubicBezTo>
                    <a:pt x="415290" y="31432"/>
                    <a:pt x="417195" y="36195"/>
                    <a:pt x="419100" y="41910"/>
                  </a:cubicBezTo>
                  <a:cubicBezTo>
                    <a:pt x="420053" y="47625"/>
                    <a:pt x="421005" y="53340"/>
                    <a:pt x="421005" y="60007"/>
                  </a:cubicBezTo>
                  <a:lnTo>
                    <a:pt x="421005" y="155258"/>
                  </a:lnTo>
                  <a:lnTo>
                    <a:pt x="440055" y="155258"/>
                  </a:lnTo>
                  <a:lnTo>
                    <a:pt x="440055" y="59055"/>
                  </a:lnTo>
                  <a:cubicBezTo>
                    <a:pt x="440055" y="49530"/>
                    <a:pt x="439103" y="41910"/>
                    <a:pt x="437198" y="34290"/>
                  </a:cubicBezTo>
                  <a:cubicBezTo>
                    <a:pt x="434340" y="26670"/>
                    <a:pt x="430530" y="20955"/>
                    <a:pt x="426720" y="15240"/>
                  </a:cubicBezTo>
                  <a:close/>
                  <a:moveTo>
                    <a:pt x="607695" y="135255"/>
                  </a:moveTo>
                  <a:lnTo>
                    <a:pt x="607695" y="135255"/>
                  </a:lnTo>
                  <a:lnTo>
                    <a:pt x="569595" y="4763"/>
                  </a:lnTo>
                  <a:lnTo>
                    <a:pt x="548640" y="4763"/>
                  </a:lnTo>
                  <a:lnTo>
                    <a:pt x="511493" y="135255"/>
                  </a:lnTo>
                  <a:lnTo>
                    <a:pt x="510540" y="135255"/>
                  </a:lnTo>
                  <a:lnTo>
                    <a:pt x="471488" y="4763"/>
                  </a:lnTo>
                  <a:lnTo>
                    <a:pt x="451485" y="4763"/>
                  </a:lnTo>
                  <a:lnTo>
                    <a:pt x="501015" y="157163"/>
                  </a:lnTo>
                  <a:lnTo>
                    <a:pt x="521018" y="157163"/>
                  </a:lnTo>
                  <a:lnTo>
                    <a:pt x="559118" y="28575"/>
                  </a:lnTo>
                  <a:lnTo>
                    <a:pt x="560070" y="28575"/>
                  </a:lnTo>
                  <a:lnTo>
                    <a:pt x="597218" y="157163"/>
                  </a:lnTo>
                  <a:lnTo>
                    <a:pt x="617220" y="157163"/>
                  </a:lnTo>
                  <a:lnTo>
                    <a:pt x="666750" y="4763"/>
                  </a:lnTo>
                  <a:lnTo>
                    <a:pt x="646748" y="4763"/>
                  </a:lnTo>
                  <a:lnTo>
                    <a:pt x="607695" y="135255"/>
                  </a:lnTo>
                  <a:close/>
                  <a:moveTo>
                    <a:pt x="813435" y="49530"/>
                  </a:moveTo>
                  <a:cubicBezTo>
                    <a:pt x="816293" y="59055"/>
                    <a:pt x="818198" y="69532"/>
                    <a:pt x="818198" y="80963"/>
                  </a:cubicBezTo>
                  <a:cubicBezTo>
                    <a:pt x="818198" y="92393"/>
                    <a:pt x="816293" y="102870"/>
                    <a:pt x="813435" y="112395"/>
                  </a:cubicBezTo>
                  <a:cubicBezTo>
                    <a:pt x="810578" y="121920"/>
                    <a:pt x="805815" y="130493"/>
                    <a:pt x="799148" y="138113"/>
                  </a:cubicBezTo>
                  <a:cubicBezTo>
                    <a:pt x="793433" y="145733"/>
                    <a:pt x="785813" y="151448"/>
                    <a:pt x="776288" y="155258"/>
                  </a:cubicBezTo>
                  <a:cubicBezTo>
                    <a:pt x="767715" y="160020"/>
                    <a:pt x="757238" y="161925"/>
                    <a:pt x="745808" y="161925"/>
                  </a:cubicBezTo>
                  <a:cubicBezTo>
                    <a:pt x="734378" y="161925"/>
                    <a:pt x="723900" y="160020"/>
                    <a:pt x="715328" y="155258"/>
                  </a:cubicBezTo>
                  <a:cubicBezTo>
                    <a:pt x="706755" y="150495"/>
                    <a:pt x="699135" y="144780"/>
                    <a:pt x="692468" y="138113"/>
                  </a:cubicBezTo>
                  <a:cubicBezTo>
                    <a:pt x="685800" y="131445"/>
                    <a:pt x="681990" y="121920"/>
                    <a:pt x="678180" y="112395"/>
                  </a:cubicBezTo>
                  <a:cubicBezTo>
                    <a:pt x="674370" y="102870"/>
                    <a:pt x="673418" y="92393"/>
                    <a:pt x="673418" y="80963"/>
                  </a:cubicBezTo>
                  <a:cubicBezTo>
                    <a:pt x="673418" y="70485"/>
                    <a:pt x="675323" y="60007"/>
                    <a:pt x="678180" y="49530"/>
                  </a:cubicBezTo>
                  <a:cubicBezTo>
                    <a:pt x="681038" y="39052"/>
                    <a:pt x="685800" y="31432"/>
                    <a:pt x="692468" y="23813"/>
                  </a:cubicBezTo>
                  <a:cubicBezTo>
                    <a:pt x="698183" y="16193"/>
                    <a:pt x="705803" y="10477"/>
                    <a:pt x="715328" y="6668"/>
                  </a:cubicBezTo>
                  <a:cubicBezTo>
                    <a:pt x="723900" y="1905"/>
                    <a:pt x="734378" y="0"/>
                    <a:pt x="745808" y="0"/>
                  </a:cubicBezTo>
                  <a:cubicBezTo>
                    <a:pt x="757238" y="0"/>
                    <a:pt x="767715" y="1905"/>
                    <a:pt x="776288" y="6668"/>
                  </a:cubicBezTo>
                  <a:cubicBezTo>
                    <a:pt x="784860" y="11430"/>
                    <a:pt x="792480" y="17145"/>
                    <a:pt x="799148" y="23813"/>
                  </a:cubicBezTo>
                  <a:cubicBezTo>
                    <a:pt x="804863" y="31432"/>
                    <a:pt x="809625" y="40005"/>
                    <a:pt x="813435" y="49530"/>
                  </a:cubicBezTo>
                  <a:close/>
                  <a:moveTo>
                    <a:pt x="799148" y="80963"/>
                  </a:moveTo>
                  <a:cubicBezTo>
                    <a:pt x="799148" y="73343"/>
                    <a:pt x="798195" y="64770"/>
                    <a:pt x="795338" y="57150"/>
                  </a:cubicBezTo>
                  <a:cubicBezTo>
                    <a:pt x="793433" y="49530"/>
                    <a:pt x="789623" y="42863"/>
                    <a:pt x="784860" y="36195"/>
                  </a:cubicBezTo>
                  <a:cubicBezTo>
                    <a:pt x="780098" y="30480"/>
                    <a:pt x="774383" y="24765"/>
                    <a:pt x="767715" y="20955"/>
                  </a:cubicBezTo>
                  <a:cubicBezTo>
                    <a:pt x="761048" y="17145"/>
                    <a:pt x="753428" y="15240"/>
                    <a:pt x="743903" y="15240"/>
                  </a:cubicBezTo>
                  <a:cubicBezTo>
                    <a:pt x="734378" y="15240"/>
                    <a:pt x="726758" y="17145"/>
                    <a:pt x="720090" y="20955"/>
                  </a:cubicBezTo>
                  <a:cubicBezTo>
                    <a:pt x="713423" y="24765"/>
                    <a:pt x="707708" y="29527"/>
                    <a:pt x="702945" y="36195"/>
                  </a:cubicBezTo>
                  <a:cubicBezTo>
                    <a:pt x="698183" y="41910"/>
                    <a:pt x="695325" y="49530"/>
                    <a:pt x="692468" y="57150"/>
                  </a:cubicBezTo>
                  <a:cubicBezTo>
                    <a:pt x="690563" y="64770"/>
                    <a:pt x="688658" y="73343"/>
                    <a:pt x="688658" y="80963"/>
                  </a:cubicBezTo>
                  <a:cubicBezTo>
                    <a:pt x="688658" y="88582"/>
                    <a:pt x="689610" y="97155"/>
                    <a:pt x="692468" y="104775"/>
                  </a:cubicBezTo>
                  <a:cubicBezTo>
                    <a:pt x="695325" y="112395"/>
                    <a:pt x="698183" y="119063"/>
                    <a:pt x="702945" y="125730"/>
                  </a:cubicBezTo>
                  <a:cubicBezTo>
                    <a:pt x="707708" y="131445"/>
                    <a:pt x="713423" y="137160"/>
                    <a:pt x="720090" y="140970"/>
                  </a:cubicBezTo>
                  <a:cubicBezTo>
                    <a:pt x="726758" y="144780"/>
                    <a:pt x="734378" y="146685"/>
                    <a:pt x="743903" y="146685"/>
                  </a:cubicBezTo>
                  <a:cubicBezTo>
                    <a:pt x="753428" y="146685"/>
                    <a:pt x="761048" y="144780"/>
                    <a:pt x="767715" y="140970"/>
                  </a:cubicBezTo>
                  <a:cubicBezTo>
                    <a:pt x="774383" y="137160"/>
                    <a:pt x="780098" y="132398"/>
                    <a:pt x="784860" y="125730"/>
                  </a:cubicBezTo>
                  <a:cubicBezTo>
                    <a:pt x="789623" y="120015"/>
                    <a:pt x="792480" y="112395"/>
                    <a:pt x="795338" y="104775"/>
                  </a:cubicBezTo>
                  <a:cubicBezTo>
                    <a:pt x="798195" y="96202"/>
                    <a:pt x="799148" y="88582"/>
                    <a:pt x="799148" y="80963"/>
                  </a:cubicBezTo>
                  <a:close/>
                  <a:moveTo>
                    <a:pt x="891540" y="138113"/>
                  </a:moveTo>
                  <a:lnTo>
                    <a:pt x="891540" y="138113"/>
                  </a:lnTo>
                  <a:lnTo>
                    <a:pt x="842963" y="3810"/>
                  </a:lnTo>
                  <a:lnTo>
                    <a:pt x="822008" y="3810"/>
                  </a:lnTo>
                  <a:lnTo>
                    <a:pt x="881063" y="156210"/>
                  </a:lnTo>
                  <a:lnTo>
                    <a:pt x="901065" y="156210"/>
                  </a:lnTo>
                  <a:lnTo>
                    <a:pt x="958215" y="3810"/>
                  </a:lnTo>
                  <a:lnTo>
                    <a:pt x="939165" y="3810"/>
                  </a:lnTo>
                  <a:lnTo>
                    <a:pt x="891540" y="138113"/>
                  </a:lnTo>
                  <a:close/>
                  <a:moveTo>
                    <a:pt x="1099185" y="85725"/>
                  </a:moveTo>
                  <a:lnTo>
                    <a:pt x="982028" y="85725"/>
                  </a:lnTo>
                  <a:cubicBezTo>
                    <a:pt x="982028" y="92393"/>
                    <a:pt x="982980" y="100013"/>
                    <a:pt x="984885" y="106680"/>
                  </a:cubicBezTo>
                  <a:cubicBezTo>
                    <a:pt x="986790" y="113348"/>
                    <a:pt x="989648" y="120015"/>
                    <a:pt x="993458" y="125730"/>
                  </a:cubicBezTo>
                  <a:cubicBezTo>
                    <a:pt x="997268" y="131445"/>
                    <a:pt x="1002983" y="136208"/>
                    <a:pt x="1008698" y="140018"/>
                  </a:cubicBezTo>
                  <a:cubicBezTo>
                    <a:pt x="1015365" y="143827"/>
                    <a:pt x="1022985" y="145733"/>
                    <a:pt x="1031558" y="145733"/>
                  </a:cubicBezTo>
                  <a:cubicBezTo>
                    <a:pt x="1044893" y="145733"/>
                    <a:pt x="1055370" y="141923"/>
                    <a:pt x="1063943" y="135255"/>
                  </a:cubicBezTo>
                  <a:cubicBezTo>
                    <a:pt x="1071563" y="127635"/>
                    <a:pt x="1077278" y="119063"/>
                    <a:pt x="1080135" y="106680"/>
                  </a:cubicBezTo>
                  <a:lnTo>
                    <a:pt x="1099185" y="106680"/>
                  </a:lnTo>
                  <a:cubicBezTo>
                    <a:pt x="1095375" y="123825"/>
                    <a:pt x="1087755" y="137160"/>
                    <a:pt x="1077278" y="146685"/>
                  </a:cubicBezTo>
                  <a:cubicBezTo>
                    <a:pt x="1066800" y="156210"/>
                    <a:pt x="1051560" y="160973"/>
                    <a:pt x="1032510" y="160973"/>
                  </a:cubicBezTo>
                  <a:cubicBezTo>
                    <a:pt x="1020128" y="160973"/>
                    <a:pt x="1009650" y="159068"/>
                    <a:pt x="1001078" y="154305"/>
                  </a:cubicBezTo>
                  <a:cubicBezTo>
                    <a:pt x="992505" y="149543"/>
                    <a:pt x="984885" y="143827"/>
                    <a:pt x="980123" y="137160"/>
                  </a:cubicBezTo>
                  <a:cubicBezTo>
                    <a:pt x="974408" y="129540"/>
                    <a:pt x="970598" y="120968"/>
                    <a:pt x="967740" y="111443"/>
                  </a:cubicBezTo>
                  <a:cubicBezTo>
                    <a:pt x="964883" y="101918"/>
                    <a:pt x="963930" y="91440"/>
                    <a:pt x="963930" y="80963"/>
                  </a:cubicBezTo>
                  <a:cubicBezTo>
                    <a:pt x="963930" y="70485"/>
                    <a:pt x="964883" y="60960"/>
                    <a:pt x="967740" y="51435"/>
                  </a:cubicBezTo>
                  <a:cubicBezTo>
                    <a:pt x="970598" y="41910"/>
                    <a:pt x="974408" y="33338"/>
                    <a:pt x="980123" y="25718"/>
                  </a:cubicBezTo>
                  <a:cubicBezTo>
                    <a:pt x="985838" y="18098"/>
                    <a:pt x="992505" y="12382"/>
                    <a:pt x="1001078" y="7620"/>
                  </a:cubicBezTo>
                  <a:cubicBezTo>
                    <a:pt x="1009650" y="2857"/>
                    <a:pt x="1020128" y="952"/>
                    <a:pt x="1032510" y="952"/>
                  </a:cubicBezTo>
                  <a:cubicBezTo>
                    <a:pt x="1044893" y="952"/>
                    <a:pt x="1055370" y="3810"/>
                    <a:pt x="1063943" y="8573"/>
                  </a:cubicBezTo>
                  <a:cubicBezTo>
                    <a:pt x="1072515" y="13335"/>
                    <a:pt x="1080135" y="20002"/>
                    <a:pt x="1084898" y="27623"/>
                  </a:cubicBezTo>
                  <a:cubicBezTo>
                    <a:pt x="1089660" y="35243"/>
                    <a:pt x="1094423" y="44768"/>
                    <a:pt x="1096328" y="55245"/>
                  </a:cubicBezTo>
                  <a:cubicBezTo>
                    <a:pt x="1098233" y="64770"/>
                    <a:pt x="1100138" y="75248"/>
                    <a:pt x="1099185" y="85725"/>
                  </a:cubicBezTo>
                  <a:close/>
                  <a:moveTo>
                    <a:pt x="1081088" y="69532"/>
                  </a:moveTo>
                  <a:cubicBezTo>
                    <a:pt x="1081088" y="62865"/>
                    <a:pt x="1079183" y="55245"/>
                    <a:pt x="1077278" y="49530"/>
                  </a:cubicBezTo>
                  <a:cubicBezTo>
                    <a:pt x="1075373" y="42863"/>
                    <a:pt x="1071563" y="37148"/>
                    <a:pt x="1067753" y="32385"/>
                  </a:cubicBezTo>
                  <a:cubicBezTo>
                    <a:pt x="1063943" y="27623"/>
                    <a:pt x="1058228" y="22860"/>
                    <a:pt x="1052513" y="20002"/>
                  </a:cubicBezTo>
                  <a:cubicBezTo>
                    <a:pt x="1046798" y="17145"/>
                    <a:pt x="1040130" y="15240"/>
                    <a:pt x="1032510" y="15240"/>
                  </a:cubicBezTo>
                  <a:cubicBezTo>
                    <a:pt x="1024890" y="15240"/>
                    <a:pt x="1018223" y="17145"/>
                    <a:pt x="1012508" y="20002"/>
                  </a:cubicBezTo>
                  <a:cubicBezTo>
                    <a:pt x="1006793" y="22860"/>
                    <a:pt x="1001078" y="26670"/>
                    <a:pt x="997268" y="32385"/>
                  </a:cubicBezTo>
                  <a:cubicBezTo>
                    <a:pt x="993458" y="38100"/>
                    <a:pt x="989648" y="42863"/>
                    <a:pt x="987743" y="49530"/>
                  </a:cubicBezTo>
                  <a:cubicBezTo>
                    <a:pt x="985838" y="56198"/>
                    <a:pt x="983933" y="62865"/>
                    <a:pt x="982980" y="69532"/>
                  </a:cubicBezTo>
                  <a:lnTo>
                    <a:pt x="1081088" y="69532"/>
                  </a:lnTo>
                  <a:lnTo>
                    <a:pt x="1081088" y="69532"/>
                  </a:lnTo>
                  <a:close/>
                  <a:moveTo>
                    <a:pt x="1239203" y="34290"/>
                  </a:moveTo>
                  <a:cubicBezTo>
                    <a:pt x="1237298" y="26670"/>
                    <a:pt x="1234440" y="20955"/>
                    <a:pt x="1229678" y="16193"/>
                  </a:cubicBezTo>
                  <a:cubicBezTo>
                    <a:pt x="1224915" y="11430"/>
                    <a:pt x="1219200" y="7620"/>
                    <a:pt x="1212533" y="4763"/>
                  </a:cubicBezTo>
                  <a:cubicBezTo>
                    <a:pt x="1204913" y="1905"/>
                    <a:pt x="1196340" y="952"/>
                    <a:pt x="1185863" y="952"/>
                  </a:cubicBezTo>
                  <a:cubicBezTo>
                    <a:pt x="1180148" y="952"/>
                    <a:pt x="1175385" y="1905"/>
                    <a:pt x="1170623" y="2857"/>
                  </a:cubicBezTo>
                  <a:cubicBezTo>
                    <a:pt x="1165860" y="4763"/>
                    <a:pt x="1161098" y="6668"/>
                    <a:pt x="1156335" y="9525"/>
                  </a:cubicBezTo>
                  <a:cubicBezTo>
                    <a:pt x="1151573" y="12382"/>
                    <a:pt x="1147763" y="15240"/>
                    <a:pt x="1144905" y="19050"/>
                  </a:cubicBezTo>
                  <a:cubicBezTo>
                    <a:pt x="1142048" y="22860"/>
                    <a:pt x="1139190" y="26670"/>
                    <a:pt x="1137285" y="31432"/>
                  </a:cubicBezTo>
                  <a:lnTo>
                    <a:pt x="1136333" y="31432"/>
                  </a:lnTo>
                  <a:lnTo>
                    <a:pt x="1136333" y="4763"/>
                  </a:lnTo>
                  <a:lnTo>
                    <a:pt x="1117283" y="4763"/>
                  </a:lnTo>
                  <a:lnTo>
                    <a:pt x="1117283" y="157163"/>
                  </a:lnTo>
                  <a:lnTo>
                    <a:pt x="1136333" y="157163"/>
                  </a:lnTo>
                  <a:lnTo>
                    <a:pt x="1136333" y="67627"/>
                  </a:lnTo>
                  <a:cubicBezTo>
                    <a:pt x="1136333" y="60007"/>
                    <a:pt x="1137285" y="53340"/>
                    <a:pt x="1140143" y="46673"/>
                  </a:cubicBezTo>
                  <a:cubicBezTo>
                    <a:pt x="1142048" y="40005"/>
                    <a:pt x="1145858" y="34290"/>
                    <a:pt x="1149668" y="30480"/>
                  </a:cubicBezTo>
                  <a:cubicBezTo>
                    <a:pt x="1153478" y="25718"/>
                    <a:pt x="1159193" y="21907"/>
                    <a:pt x="1164908" y="19050"/>
                  </a:cubicBezTo>
                  <a:cubicBezTo>
                    <a:pt x="1170623" y="16193"/>
                    <a:pt x="1177290" y="15240"/>
                    <a:pt x="1184910" y="15240"/>
                  </a:cubicBezTo>
                  <a:cubicBezTo>
                    <a:pt x="1192530" y="15240"/>
                    <a:pt x="1198245" y="16193"/>
                    <a:pt x="1203960" y="19050"/>
                  </a:cubicBezTo>
                  <a:cubicBezTo>
                    <a:pt x="1209675" y="21907"/>
                    <a:pt x="1212533" y="24765"/>
                    <a:pt x="1216343" y="28575"/>
                  </a:cubicBezTo>
                  <a:cubicBezTo>
                    <a:pt x="1220153" y="32385"/>
                    <a:pt x="1221105" y="37148"/>
                    <a:pt x="1223010" y="42863"/>
                  </a:cubicBezTo>
                  <a:cubicBezTo>
                    <a:pt x="1223963" y="48577"/>
                    <a:pt x="1224915" y="54293"/>
                    <a:pt x="1224915" y="60960"/>
                  </a:cubicBezTo>
                  <a:lnTo>
                    <a:pt x="1224915" y="156210"/>
                  </a:lnTo>
                  <a:lnTo>
                    <a:pt x="1243965" y="156210"/>
                  </a:lnTo>
                  <a:lnTo>
                    <a:pt x="1243965" y="59055"/>
                  </a:lnTo>
                  <a:cubicBezTo>
                    <a:pt x="1242060" y="49530"/>
                    <a:pt x="1241108" y="40957"/>
                    <a:pt x="1239203" y="34290"/>
                  </a:cubicBezTo>
                  <a:close/>
                </a:path>
              </a:pathLst>
            </a:custGeom>
            <a:solidFill>
              <a:srgbClr val="EB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57174425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54" r:id="rId20"/>
    <p:sldLayoutId id="2147483755" r:id="rId21"/>
    <p:sldLayoutId id="2147483745" r:id="rId22"/>
    <p:sldLayoutId id="2147483746" r:id="rId23"/>
    <p:sldLayoutId id="2147483747" r:id="rId24"/>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oerlikon.com/polymer-processing/en/"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6.jpeg"/><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2" Type="http://schemas.openxmlformats.org/officeDocument/2006/relationships/hyperlink" Target="https://www.oerlikon.com/polymer-processing/en/solutions-technologies/gear-metering-pump-technologies/"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https://www.oerlikon.com/polymer-processing/en/solutions-technologies/automation-solutions/" TargetMode="External"/><Relationship Id="rId1" Type="http://schemas.openxmlformats.org/officeDocument/2006/relationships/slideLayout" Target="../slideLayouts/slideLayout3.xml"/><Relationship Id="rId4" Type="http://schemas.openxmlformats.org/officeDocument/2006/relationships/hyperlink" Target="https://www.oerlikon.com/ecoma/files/Oerlikon_Automation.zip"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oerlikon.com/polymer-processing/en/" TargetMode="External"/><Relationship Id="rId2" Type="http://schemas.openxmlformats.org/officeDocument/2006/relationships/hyperlink" Target="https://www.oerlikon.com/polymer-processing/en/solutions-technologies/software-solutions/" TargetMode="External"/><Relationship Id="rId1" Type="http://schemas.openxmlformats.org/officeDocument/2006/relationships/slideLayout" Target="../slideLayouts/slideLayout3.xml"/><Relationship Id="rId5" Type="http://schemas.openxmlformats.org/officeDocument/2006/relationships/hyperlink" Target="https://www.oerlikon.com/ecoma/files/Oerlikon_Digital_Solution.zip" TargetMode="External"/><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hyperlink" Target="https://www.oerlikon.com/polymer-processing/en/about-us/locations/" TargetMode="External"/><Relationship Id="rId2" Type="http://schemas.openxmlformats.org/officeDocument/2006/relationships/notesSlide" Target="../notesSlides/notesSlide9.xml"/><Relationship Id="rId1" Type="http://schemas.openxmlformats.org/officeDocument/2006/relationships/slideLayout" Target="../slideLayouts/slideLayout21.xml"/><Relationship Id="rId5" Type="http://schemas.openxmlformats.org/officeDocument/2006/relationships/image" Target="../media/image52.jpg"/><Relationship Id="rId4" Type="http://schemas.openxmlformats.org/officeDocument/2006/relationships/hyperlink" Target="mailto:info.manmade-fibers@oerlikon.co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jpeg"/><Relationship Id="rId18" Type="http://schemas.openxmlformats.org/officeDocument/2006/relationships/image" Target="../media/image31.png"/><Relationship Id="rId3" Type="http://schemas.openxmlformats.org/officeDocument/2006/relationships/hyperlink" Target="https://www.oerlikon.com/polymer-processing/en/solutions-technologies/polymer-processing/" TargetMode="External"/><Relationship Id="rId21" Type="http://schemas.openxmlformats.org/officeDocument/2006/relationships/slide" Target="slide2.xml"/><Relationship Id="rId7" Type="http://schemas.openxmlformats.org/officeDocument/2006/relationships/image" Target="../media/image20.jpeg"/><Relationship Id="rId12" Type="http://schemas.openxmlformats.org/officeDocument/2006/relationships/image" Target="../media/image25.jpeg"/><Relationship Id="rId17" Type="http://schemas.openxmlformats.org/officeDocument/2006/relationships/image" Target="../media/image30.JPG"/><Relationship Id="rId2" Type="http://schemas.openxmlformats.org/officeDocument/2006/relationships/notesSlide" Target="../notesSlides/notesSlide2.xml"/><Relationship Id="rId16" Type="http://schemas.openxmlformats.org/officeDocument/2006/relationships/image" Target="../media/image29.png"/><Relationship Id="rId20" Type="http://schemas.openxmlformats.org/officeDocument/2006/relationships/image" Target="../media/image32.png"/><Relationship Id="rId1" Type="http://schemas.openxmlformats.org/officeDocument/2006/relationships/slideLayout" Target="../slideLayouts/slideLayout3.xml"/><Relationship Id="rId6" Type="http://schemas.openxmlformats.org/officeDocument/2006/relationships/image" Target="../media/image19.jpeg"/><Relationship Id="rId11" Type="http://schemas.openxmlformats.org/officeDocument/2006/relationships/image" Target="../media/image24.jpeg"/><Relationship Id="rId5" Type="http://schemas.openxmlformats.org/officeDocument/2006/relationships/image" Target="../media/image18.jpeg"/><Relationship Id="rId15" Type="http://schemas.openxmlformats.org/officeDocument/2006/relationships/image" Target="../media/image28.jpeg"/><Relationship Id="rId23" Type="http://schemas.openxmlformats.org/officeDocument/2006/relationships/image" Target="../media/image33.gif"/><Relationship Id="rId10" Type="http://schemas.openxmlformats.org/officeDocument/2006/relationships/image" Target="../media/image23.jpeg"/><Relationship Id="rId19" Type="http://schemas.microsoft.com/office/2007/relationships/hdphoto" Target="../media/hdphoto1.wdp"/><Relationship Id="rId4" Type="http://schemas.openxmlformats.org/officeDocument/2006/relationships/image" Target="../media/image17.jpeg"/><Relationship Id="rId9" Type="http://schemas.openxmlformats.org/officeDocument/2006/relationships/image" Target="../media/image22.jpeg"/><Relationship Id="rId14" Type="http://schemas.openxmlformats.org/officeDocument/2006/relationships/image" Target="../media/image27.jpeg"/><Relationship Id="rId22" Type="http://schemas.openxmlformats.org/officeDocument/2006/relationships/hyperlink" Target="Manmade%20Fibers/e-save%20single%20loop%202016%20final.mp4"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oerlikon.com/polymer-processing/en/solutions-technologies/polymer-processing/"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hyperlink" Target="https://www.oerlikon.com/ecoma/files/Oerlikon_Barmag_CP.zip" TargetMode="External"/><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8" Type="http://schemas.openxmlformats.org/officeDocument/2006/relationships/hyperlink" Target="https://www.oerlikon.com/ecoma/files/Oerlikon_Barmag_Filament_Yarn.zip" TargetMode="External"/><Relationship Id="rId3" Type="http://schemas.openxmlformats.org/officeDocument/2006/relationships/hyperlink" Target="https://www.oerlikon.com/polymer-processing/en/solutions-technologies/from-melt-to%E2%80%A6/filament-yarn-poyfdy/" TargetMode="External"/><Relationship Id="rId7"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s://www.oerlikon.com/ecoma/files/Oerlikon_Barmag_Textured_Yarn.zip" TargetMode="External"/><Relationship Id="rId5" Type="http://schemas.openxmlformats.org/officeDocument/2006/relationships/image" Target="../media/image40.png"/><Relationship Id="rId4" Type="http://schemas.openxmlformats.org/officeDocument/2006/relationships/hyperlink" Target="https://www.oerlikon.com/polymer-processing/en/solutions-technologies/from-melt-to%E2%80%A6/textured-yarn-dty/"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oerlikon.com/polymer-processing/en/solutions-technologies/from-melt-to%E2%80%A6/industrial-yarn-idy-1/"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hyperlink" Target="https://www.oerlikon.com/ecoma/files/Oerlikon_Barmag_Industrial_Yarn.zip" TargetMode="External"/><Relationship Id="rId5" Type="http://schemas.openxmlformats.org/officeDocument/2006/relationships/image" Target="../media/image42.png"/><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hyperlink" Target="https://www.oerlikon.com/polymer-processing/en/solutions-technologies/from-melt-to%E2%80%A6/carpet-yarn-bcf/" TargetMode="External"/><Relationship Id="rId7" Type="http://schemas.openxmlformats.org/officeDocument/2006/relationships/hyperlink" Target="https://www.oerlikon.com/ecoma/files/Oerlikon_Neumag_Carpet_Yarn.zip"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3" Type="http://schemas.openxmlformats.org/officeDocument/2006/relationships/hyperlink" Target="https://www.oerlikon.com/polymer-processing/en/solutions-technologies/from-melt-to%E2%80%A6/staple-fiber-bales/"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hyperlink" Target="https://www.oerlikon.com/ecoma/files/Oerlikon_Neumag_StapleFiber.zip" TargetMode="External"/><Relationship Id="rId5" Type="http://schemas.openxmlformats.org/officeDocument/2006/relationships/image" Target="../media/image47.pn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www.oerlikon.com/polymer-processing/en/solutions-technologies/from-melt-to%E2%80%A6/nonwoven-material/" TargetMode="External"/><Relationship Id="rId1" Type="http://schemas.openxmlformats.org/officeDocument/2006/relationships/slideLayout" Target="../slideLayouts/slideLayout3.xml"/><Relationship Id="rId5" Type="http://schemas.openxmlformats.org/officeDocument/2006/relationships/hyperlink" Target="https://www.oerlikon.com/ecoma/files/Oerlikon_Nonwoven.zip" TargetMode="External"/><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58775" y="411163"/>
            <a:ext cx="7237561" cy="1174192"/>
          </a:xfrm>
        </p:spPr>
        <p:txBody>
          <a:bodyPr/>
          <a:lstStyle/>
          <a:p>
            <a:r>
              <a:rPr lang="de-DE" dirty="0" err="1"/>
              <a:t>From</a:t>
            </a:r>
            <a:r>
              <a:rPr lang="de-DE" dirty="0"/>
              <a:t> Melt </a:t>
            </a:r>
            <a:r>
              <a:rPr lang="de-DE" dirty="0" err="1"/>
              <a:t>to</a:t>
            </a:r>
            <a:r>
              <a:rPr lang="de-DE" dirty="0"/>
              <a:t> </a:t>
            </a:r>
            <a:r>
              <a:rPr lang="de-DE" dirty="0" err="1"/>
              <a:t>Yarn</a:t>
            </a:r>
            <a:r>
              <a:rPr lang="de-DE" dirty="0"/>
              <a:t>, Fibers and </a:t>
            </a:r>
            <a:r>
              <a:rPr lang="de-DE" dirty="0" err="1"/>
              <a:t>Nonwovens</a:t>
            </a:r>
            <a:br>
              <a:rPr lang="de-DE" dirty="0"/>
            </a:br>
            <a:r>
              <a:rPr lang="de-DE" dirty="0"/>
              <a:t>Clean Technology. Smart Factory.</a:t>
            </a:r>
            <a:br>
              <a:rPr lang="ja-JP" altLang="de-DE" dirty="0"/>
            </a:br>
            <a:endParaRPr lang="en-US" noProof="0" dirty="0"/>
          </a:p>
        </p:txBody>
      </p:sp>
      <p:sp>
        <p:nvSpPr>
          <p:cNvPr id="3" name="Untertitel 2"/>
          <p:cNvSpPr>
            <a:spLocks noGrp="1"/>
          </p:cNvSpPr>
          <p:nvPr>
            <p:ph type="subTitle" idx="1"/>
          </p:nvPr>
        </p:nvSpPr>
        <p:spPr/>
        <p:txBody>
          <a:bodyPr/>
          <a:lstStyle/>
          <a:p>
            <a:r>
              <a:rPr lang="en-US" dirty="0">
                <a:hlinkClick r:id="rId3"/>
              </a:rPr>
              <a:t>Oerlikon Polymer Processing Solutions </a:t>
            </a:r>
            <a:endParaRPr lang="en-US" dirty="0"/>
          </a:p>
          <a:p>
            <a:r>
              <a:rPr lang="en-US" noProof="0" dirty="0"/>
              <a:t>Remscheid</a:t>
            </a:r>
          </a:p>
          <a:p>
            <a:r>
              <a:rPr lang="en-US" noProof="0" dirty="0"/>
              <a:t>January 2022</a:t>
            </a:r>
          </a:p>
        </p:txBody>
      </p:sp>
      <p:pic>
        <p:nvPicPr>
          <p:cNvPr id="7" name="Picture 2"/>
          <p:cNvPicPr>
            <a:picLocks noGrp="1" noChangeAspect="1" noChangeArrowheads="1"/>
          </p:cNvPicPr>
          <p:nvPr>
            <p:ph type="pic" sz="quarter" idx="10"/>
          </p:nvPr>
        </p:nvPicPr>
        <p:blipFill>
          <a:blip r:embed="rId4">
            <a:extLst>
              <a:ext uri="{28A0092B-C50C-407E-A947-70E740481C1C}">
                <a14:useLocalDpi xmlns:a14="http://schemas.microsoft.com/office/drawing/2010/main" val="0"/>
              </a:ext>
            </a:extLst>
          </a:blip>
          <a:srcRect l="22" r="22"/>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Grafik 4" descr="Ein Bild, das Sport, Spiel enthält.&#10;&#10;Automatisch generierte Beschreibung">
            <a:extLst>
              <a:ext uri="{FF2B5EF4-FFF2-40B4-BE49-F238E27FC236}">
                <a16:creationId xmlns:a16="http://schemas.microsoft.com/office/drawing/2014/main" id="{77CB7A2B-2208-4BBA-85F5-99A972ED554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0" t="18907" r="100" b="17400"/>
          <a:stretch/>
        </p:blipFill>
        <p:spPr>
          <a:xfrm>
            <a:off x="0" y="2716213"/>
            <a:ext cx="9144000" cy="2427287"/>
          </a:xfrm>
          <a:prstGeom prst="rect">
            <a:avLst/>
          </a:prstGeom>
        </p:spPr>
      </p:pic>
    </p:spTree>
    <p:extLst>
      <p:ext uri="{BB962C8B-B14F-4D97-AF65-F5344CB8AC3E}">
        <p14:creationId xmlns:p14="http://schemas.microsoft.com/office/powerpoint/2010/main" val="394827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EA6CBB0-F2F8-43B3-B17D-4A81EA3D1A16}"/>
              </a:ext>
            </a:extLst>
          </p:cNvPr>
          <p:cNvSpPr>
            <a:spLocks noGrp="1"/>
          </p:cNvSpPr>
          <p:nvPr>
            <p:ph type="sldNum" sz="quarter" idx="15"/>
          </p:nvPr>
        </p:nvSpPr>
        <p:spPr/>
        <p:txBody>
          <a:bodyPr/>
          <a:lstStyle/>
          <a:p>
            <a:r>
              <a:rPr lang="en-US" noProof="0"/>
              <a:t>Page </a:t>
            </a:r>
            <a:fld id="{D126E9C2-5A98-4FED-83CF-BD978A28F274}" type="slidenum">
              <a:rPr lang="en-US" noProof="0" smtClean="0"/>
              <a:pPr/>
              <a:t>10</a:t>
            </a:fld>
            <a:endParaRPr lang="en-US" noProof="0" dirty="0"/>
          </a:p>
        </p:txBody>
      </p:sp>
      <p:sp>
        <p:nvSpPr>
          <p:cNvPr id="5" name="Titel 4">
            <a:extLst>
              <a:ext uri="{FF2B5EF4-FFF2-40B4-BE49-F238E27FC236}">
                <a16:creationId xmlns:a16="http://schemas.microsoft.com/office/drawing/2014/main" id="{594FEA7E-00C0-4A35-8504-44DF05143C85}"/>
              </a:ext>
            </a:extLst>
          </p:cNvPr>
          <p:cNvSpPr>
            <a:spLocks noGrp="1"/>
          </p:cNvSpPr>
          <p:nvPr>
            <p:ph type="title"/>
          </p:nvPr>
        </p:nvSpPr>
        <p:spPr/>
        <p:txBody>
          <a:bodyPr/>
          <a:lstStyle/>
          <a:p>
            <a:r>
              <a:rPr lang="de-DE" dirty="0"/>
              <a:t>Flow</a:t>
            </a:r>
            <a:r>
              <a:rPr lang="de-DE" baseline="0" dirty="0"/>
              <a:t> Control</a:t>
            </a:r>
            <a:endParaRPr lang="de-DE" dirty="0"/>
          </a:p>
        </p:txBody>
      </p:sp>
      <p:sp>
        <p:nvSpPr>
          <p:cNvPr id="7" name="Text Placeholder 5">
            <a:extLst>
              <a:ext uri="{FF2B5EF4-FFF2-40B4-BE49-F238E27FC236}">
                <a16:creationId xmlns:a16="http://schemas.microsoft.com/office/drawing/2014/main" id="{8D2E1A93-029E-49D9-A57C-8C09D318288B}"/>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b="1" dirty="0">
                <a:hlinkClick r:id="rId2"/>
              </a:rPr>
              <a:t>Flow Control Solutions</a:t>
            </a:r>
            <a:endParaRPr lang="en-US" sz="900" b="1" dirty="0"/>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8" name="Text Placeholder 5">
            <a:extLst>
              <a:ext uri="{FF2B5EF4-FFF2-40B4-BE49-F238E27FC236}">
                <a16:creationId xmlns:a16="http://schemas.microsoft.com/office/drawing/2014/main" id="{7F907318-BF47-4D18-88C1-0CEE6A50487F}"/>
              </a:ext>
            </a:extLst>
          </p:cNvPr>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Flow Control Solutions</a:t>
            </a:r>
            <a:endParaRPr lang="en-US" sz="900" b="1" dirty="0"/>
          </a:p>
          <a:p>
            <a:pPr lvl="7"/>
            <a:r>
              <a:rPr lang="en-US" sz="900" dirty="0"/>
              <a:t>Oerlikon has a high precision flow control components business that offers a large selection of gear metering pumps for the textile and other industries, including the automotive, chemical and paint markets. </a:t>
            </a:r>
            <a:br>
              <a:rPr lang="en-US" sz="900" dirty="0"/>
            </a:br>
            <a:r>
              <a:rPr lang="en-US" sz="900" dirty="0"/>
              <a:t>With Oerlikon </a:t>
            </a:r>
            <a:r>
              <a:rPr lang="en-US" sz="900" dirty="0" err="1"/>
              <a:t>HRSflow</a:t>
            </a:r>
            <a:r>
              <a:rPr lang="en-US" sz="900" dirty="0"/>
              <a:t> the division develops innovative hot runner systems for the polymer processing industry. In cooperation with Oerlikon </a:t>
            </a:r>
            <a:r>
              <a:rPr lang="en-US" sz="900" dirty="0" err="1"/>
              <a:t>Balzers</a:t>
            </a:r>
            <a:r>
              <a:rPr lang="en-US" sz="900" dirty="0"/>
              <a:t>, highly efficient and effective coating solutions are offered here from a single source.</a:t>
            </a:r>
          </a:p>
          <a:p>
            <a:pPr lvl="7"/>
            <a:r>
              <a:rPr lang="en-US" sz="900" dirty="0"/>
              <a:t>Oerlikon Barmag gear metering pumps are used worldwide as process engineering components in applications involving chemicals, plastics, paints and dyes as well as PUR.</a:t>
            </a:r>
          </a:p>
          <a:p>
            <a:pPr lvl="7"/>
            <a:endParaRPr lang="en-US" sz="900" dirty="0"/>
          </a:p>
          <a:p>
            <a:pPr lvl="7"/>
            <a:r>
              <a:rPr lang="en-US" sz="900" b="1" dirty="0"/>
              <a:t>Pumps for Manmade Fiber Applications</a:t>
            </a:r>
          </a:p>
          <a:p>
            <a:pPr marL="171450" lvl="1" indent="-171450">
              <a:spcAft>
                <a:spcPts val="0"/>
              </a:spcAft>
              <a:buFont typeface="Arial" panose="020B0604020202020204" pitchFamily="34" charset="0"/>
              <a:buChar char="•"/>
            </a:pPr>
            <a:r>
              <a:rPr lang="de-DE" sz="900" b="0" dirty="0"/>
              <a:t>Spinning Pumps </a:t>
            </a:r>
            <a:r>
              <a:rPr lang="de-DE" sz="900" b="0" dirty="0" err="1"/>
              <a:t>for</a:t>
            </a:r>
            <a:r>
              <a:rPr lang="de-DE" sz="900" b="0" dirty="0"/>
              <a:t> Manmade Fibers</a:t>
            </a:r>
          </a:p>
          <a:p>
            <a:pPr marL="171450" lvl="1" indent="-171450">
              <a:spcAft>
                <a:spcPts val="0"/>
              </a:spcAft>
              <a:buFont typeface="Arial" panose="020B0604020202020204" pitchFamily="34" charset="0"/>
              <a:buChar char="•"/>
            </a:pPr>
            <a:r>
              <a:rPr lang="de-DE" sz="900" b="0" dirty="0"/>
              <a:t>Spinning </a:t>
            </a:r>
            <a:r>
              <a:rPr lang="de-DE" sz="900" b="0" dirty="0" err="1"/>
              <a:t>pumps</a:t>
            </a:r>
            <a:r>
              <a:rPr lang="de-DE" sz="900" b="0" dirty="0"/>
              <a:t> </a:t>
            </a:r>
            <a:r>
              <a:rPr lang="de-DE" sz="900" b="0" dirty="0" err="1"/>
              <a:t>for</a:t>
            </a:r>
            <a:r>
              <a:rPr lang="de-DE" sz="900" b="0" dirty="0"/>
              <a:t> </a:t>
            </a:r>
            <a:r>
              <a:rPr lang="de-DE" sz="900" b="0" dirty="0" err="1"/>
              <a:t>special</a:t>
            </a:r>
            <a:r>
              <a:rPr lang="de-DE" sz="900" b="0" dirty="0"/>
              <a:t> </a:t>
            </a:r>
            <a:r>
              <a:rPr lang="de-DE" sz="900" b="0" dirty="0" err="1"/>
              <a:t>fibers</a:t>
            </a:r>
            <a:endParaRPr lang="de-DE" sz="900" b="0" dirty="0"/>
          </a:p>
          <a:p>
            <a:pPr marL="171450" lvl="1" indent="-171450">
              <a:spcAft>
                <a:spcPts val="0"/>
              </a:spcAft>
              <a:buFont typeface="Arial" panose="020B0604020202020204" pitchFamily="34" charset="0"/>
              <a:buChar char="•"/>
            </a:pPr>
            <a:r>
              <a:rPr lang="de-DE" sz="900" b="0" dirty="0"/>
              <a:t>Spin finish </a:t>
            </a:r>
            <a:r>
              <a:rPr lang="de-DE" sz="900" b="0" dirty="0" err="1"/>
              <a:t>pumps</a:t>
            </a:r>
            <a:r>
              <a:rPr lang="de-DE" sz="900" b="0" dirty="0"/>
              <a:t> </a:t>
            </a:r>
            <a:r>
              <a:rPr lang="de-DE" sz="900" b="0" dirty="0" err="1"/>
              <a:t>for</a:t>
            </a:r>
            <a:r>
              <a:rPr lang="de-DE" sz="900" b="0" dirty="0"/>
              <a:t> Manmade Fibers</a:t>
            </a:r>
          </a:p>
          <a:p>
            <a:pPr marL="171450" lvl="1" indent="-171450">
              <a:spcAft>
                <a:spcPts val="0"/>
              </a:spcAft>
              <a:buFont typeface="Arial" panose="020B0604020202020204" pitchFamily="34" charset="0"/>
              <a:buChar char="•"/>
            </a:pPr>
            <a:r>
              <a:rPr lang="de-DE" sz="900" b="0" dirty="0" err="1"/>
              <a:t>Dosing</a:t>
            </a:r>
            <a:r>
              <a:rPr lang="de-DE" sz="900" b="0" dirty="0"/>
              <a:t> Pumps </a:t>
            </a:r>
            <a:r>
              <a:rPr lang="de-DE" sz="900" b="0" dirty="0" err="1"/>
              <a:t>for</a:t>
            </a:r>
            <a:r>
              <a:rPr lang="de-DE" sz="900" b="0" dirty="0"/>
              <a:t> Additives &amp; </a:t>
            </a:r>
            <a:r>
              <a:rPr lang="de-DE" sz="900" b="0" dirty="0" err="1"/>
              <a:t>Dyes</a:t>
            </a:r>
            <a:endParaRPr lang="de-DE" sz="900" b="0" dirty="0"/>
          </a:p>
          <a:p>
            <a:pPr marL="171450" lvl="1" indent="-171450">
              <a:spcAft>
                <a:spcPts val="0"/>
              </a:spcAft>
              <a:buFont typeface="Arial" panose="020B0604020202020204" pitchFamily="34" charset="0"/>
              <a:buChar char="•"/>
            </a:pPr>
            <a:endParaRPr lang="de-DE" sz="900" b="0" dirty="0"/>
          </a:p>
          <a:p>
            <a:pPr marL="171450" lvl="1" indent="-171450">
              <a:spcAft>
                <a:spcPts val="0"/>
              </a:spcAft>
              <a:buFont typeface="Arial" panose="020B0604020202020204" pitchFamily="34" charset="0"/>
              <a:buChar char="•"/>
            </a:pPr>
            <a:endParaRPr lang="de-DE" sz="900" b="0" dirty="0"/>
          </a:p>
          <a:p>
            <a:pPr marL="171450" lvl="1" indent="-171450">
              <a:spcAft>
                <a:spcPts val="0"/>
              </a:spcAft>
              <a:buFont typeface="Arial" panose="020B0604020202020204" pitchFamily="34" charset="0"/>
              <a:buChar char="•"/>
            </a:pPr>
            <a:endParaRPr lang="de-DE" sz="900" b="0" dirty="0"/>
          </a:p>
          <a:p>
            <a:pPr marL="171450" lvl="1" indent="-171450">
              <a:spcAft>
                <a:spcPts val="0"/>
              </a:spcAft>
              <a:buFont typeface="Arial" panose="020B0604020202020204" pitchFamily="34" charset="0"/>
              <a:buChar char="•"/>
            </a:pPr>
            <a:endParaRPr lang="de-DE" sz="900" b="0" dirty="0"/>
          </a:p>
          <a:p>
            <a:pPr marL="171450" lvl="1" indent="-171450">
              <a:spcAft>
                <a:spcPts val="0"/>
              </a:spcAft>
              <a:buFont typeface="Arial" panose="020B0604020202020204" pitchFamily="34" charset="0"/>
              <a:buChar char="•"/>
            </a:pPr>
            <a:endParaRPr lang="de-DE" sz="900" b="0" dirty="0"/>
          </a:p>
          <a:p>
            <a:pPr marL="171450" lvl="1" indent="-171450">
              <a:spcAft>
                <a:spcPts val="0"/>
              </a:spcAft>
              <a:buFont typeface="Arial" panose="020B0604020202020204" pitchFamily="34" charset="0"/>
              <a:buChar char="•"/>
            </a:pPr>
            <a:endParaRPr lang="de-DE" sz="900" b="0" dirty="0"/>
          </a:p>
          <a:p>
            <a:pPr lvl="1">
              <a:spcAft>
                <a:spcPts val="0"/>
              </a:spcAft>
            </a:pPr>
            <a:r>
              <a:rPr lang="en-US" sz="900" b="1" dirty="0">
                <a:solidFill>
                  <a:srgbClr val="FF0000"/>
                </a:solidFill>
                <a:hlinkClick r:id="rId2">
                  <a:extLst>
                    <a:ext uri="{A12FA001-AC4F-418D-AE19-62706E023703}">
                      <ahyp:hlinkClr xmlns:ahyp="http://schemas.microsoft.com/office/drawing/2018/hyperlinkcolor" val="tx"/>
                    </a:ext>
                  </a:extLst>
                </a:hlinkClick>
              </a:rPr>
              <a:t>&gt;&gt; more</a:t>
            </a:r>
            <a:endParaRPr lang="de-DE" sz="900" b="0" dirty="0"/>
          </a:p>
        </p:txBody>
      </p:sp>
      <p:sp>
        <p:nvSpPr>
          <p:cNvPr id="14" name="Text Placeholder 5">
            <a:extLst>
              <a:ext uri="{FF2B5EF4-FFF2-40B4-BE49-F238E27FC236}">
                <a16:creationId xmlns:a16="http://schemas.microsoft.com/office/drawing/2014/main" id="{D300287A-2AA3-4408-9358-F08AD780E182}"/>
              </a:ext>
            </a:extLst>
          </p:cNvPr>
          <p:cNvSpPr txBox="1">
            <a:spLocks/>
          </p:cNvSpPr>
          <p:nvPr/>
        </p:nvSpPr>
        <p:spPr bwMode="gray">
          <a:xfrm>
            <a:off x="5705455" y="2428150"/>
            <a:ext cx="2697232" cy="2087816"/>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t>Pumps for Non-textile Applications</a:t>
            </a:r>
          </a:p>
          <a:p>
            <a:pPr marL="171450" lvl="1" indent="-171450">
              <a:spcAft>
                <a:spcPts val="0"/>
              </a:spcAft>
              <a:buFont typeface="Arial" panose="020B0604020202020204" pitchFamily="34" charset="0"/>
              <a:buChar char="•"/>
            </a:pPr>
            <a:r>
              <a:rPr lang="de-DE" sz="900" b="0" dirty="0"/>
              <a:t>Metering Pumps </a:t>
            </a:r>
            <a:r>
              <a:rPr lang="de-DE" sz="900" b="0" dirty="0" err="1"/>
              <a:t>for</a:t>
            </a:r>
            <a:r>
              <a:rPr lang="de-DE" sz="900" b="0" dirty="0"/>
              <a:t> Polymer Extrusion</a:t>
            </a:r>
          </a:p>
          <a:p>
            <a:pPr marL="171450" lvl="1" indent="-171450">
              <a:spcAft>
                <a:spcPts val="0"/>
              </a:spcAft>
              <a:buFont typeface="Arial" panose="020B0604020202020204" pitchFamily="34" charset="0"/>
              <a:buChar char="•"/>
            </a:pPr>
            <a:r>
              <a:rPr lang="de-DE" sz="900" b="0" dirty="0" err="1"/>
              <a:t>Dosing</a:t>
            </a:r>
            <a:r>
              <a:rPr lang="de-DE" sz="900" b="0" dirty="0"/>
              <a:t> Pumps </a:t>
            </a:r>
            <a:r>
              <a:rPr lang="de-DE" sz="900" b="0" dirty="0" err="1"/>
              <a:t>for</a:t>
            </a:r>
            <a:r>
              <a:rPr lang="de-DE" sz="900" b="0" dirty="0"/>
              <a:t> </a:t>
            </a:r>
            <a:r>
              <a:rPr lang="de-DE" sz="900" b="0" dirty="0" err="1"/>
              <a:t>Paints</a:t>
            </a:r>
            <a:endParaRPr lang="de-DE" sz="900" b="0" dirty="0"/>
          </a:p>
          <a:p>
            <a:pPr marL="171450" lvl="1" indent="-171450">
              <a:spcAft>
                <a:spcPts val="0"/>
              </a:spcAft>
              <a:buFont typeface="Arial" panose="020B0604020202020204" pitchFamily="34" charset="0"/>
              <a:buChar char="•"/>
            </a:pPr>
            <a:r>
              <a:rPr lang="de-DE" sz="900" b="0" dirty="0" err="1"/>
              <a:t>Dosing</a:t>
            </a:r>
            <a:r>
              <a:rPr lang="de-DE" sz="900" b="0" dirty="0"/>
              <a:t> Pumps </a:t>
            </a:r>
            <a:r>
              <a:rPr lang="de-DE" sz="900" b="0" dirty="0" err="1"/>
              <a:t>for</a:t>
            </a:r>
            <a:r>
              <a:rPr lang="de-DE" sz="900" b="0" dirty="0"/>
              <a:t> Chemicals</a:t>
            </a:r>
          </a:p>
          <a:p>
            <a:pPr marL="171450" lvl="1" indent="-171450">
              <a:spcAft>
                <a:spcPts val="0"/>
              </a:spcAft>
              <a:buFont typeface="Arial" panose="020B0604020202020204" pitchFamily="34" charset="0"/>
              <a:buChar char="•"/>
            </a:pPr>
            <a:r>
              <a:rPr lang="de-DE" sz="900" b="0" dirty="0" err="1"/>
              <a:t>Dosing</a:t>
            </a:r>
            <a:r>
              <a:rPr lang="de-DE" sz="900" b="0" dirty="0"/>
              <a:t> </a:t>
            </a:r>
            <a:r>
              <a:rPr lang="de-DE" sz="900" b="0" dirty="0" err="1"/>
              <a:t>pumps</a:t>
            </a:r>
            <a:r>
              <a:rPr lang="de-DE" sz="900" b="0" dirty="0"/>
              <a:t> </a:t>
            </a:r>
            <a:r>
              <a:rPr lang="de-DE" sz="900" b="0" dirty="0" err="1"/>
              <a:t>for</a:t>
            </a:r>
            <a:r>
              <a:rPr lang="de-DE" sz="900" b="0" dirty="0"/>
              <a:t> PUR</a:t>
            </a:r>
          </a:p>
          <a:p>
            <a:pPr marL="171450" lvl="1" indent="-171450">
              <a:spcAft>
                <a:spcPts val="0"/>
              </a:spcAft>
              <a:buFont typeface="Arial" panose="020B0604020202020204" pitchFamily="34" charset="0"/>
              <a:buChar char="•"/>
            </a:pPr>
            <a:r>
              <a:rPr lang="de-DE" sz="900" b="0" dirty="0" err="1"/>
              <a:t>Dosing</a:t>
            </a:r>
            <a:r>
              <a:rPr lang="de-DE" sz="900" b="0" dirty="0"/>
              <a:t> </a:t>
            </a:r>
            <a:r>
              <a:rPr lang="de-DE" sz="900" b="0" dirty="0" err="1"/>
              <a:t>pumps</a:t>
            </a:r>
            <a:r>
              <a:rPr lang="de-DE" sz="900" b="0" dirty="0"/>
              <a:t> </a:t>
            </a:r>
            <a:r>
              <a:rPr lang="de-DE" sz="900" b="0" dirty="0" err="1"/>
              <a:t>for</a:t>
            </a:r>
            <a:r>
              <a:rPr lang="de-DE" sz="900" b="0" dirty="0"/>
              <a:t> </a:t>
            </a:r>
            <a:r>
              <a:rPr lang="de-DE" sz="900" b="0" dirty="0" err="1"/>
              <a:t>composites</a:t>
            </a:r>
            <a:endParaRPr lang="de-DE" sz="900" b="0" dirty="0"/>
          </a:p>
          <a:p>
            <a:pPr marL="171450" lvl="1" indent="-171450">
              <a:spcAft>
                <a:spcPts val="0"/>
              </a:spcAft>
              <a:buFont typeface="Arial" panose="020B0604020202020204" pitchFamily="34" charset="0"/>
              <a:buChar char="•"/>
            </a:pPr>
            <a:r>
              <a:rPr lang="de-DE" sz="900" b="0" dirty="0"/>
              <a:t>Metering </a:t>
            </a:r>
            <a:r>
              <a:rPr lang="de-DE" sz="900" b="0" dirty="0" err="1"/>
              <a:t>pumps</a:t>
            </a:r>
            <a:r>
              <a:rPr lang="de-DE" sz="900" b="0" dirty="0"/>
              <a:t> </a:t>
            </a:r>
            <a:r>
              <a:rPr lang="de-DE" sz="900" b="0" dirty="0" err="1"/>
              <a:t>for</a:t>
            </a:r>
            <a:r>
              <a:rPr lang="de-DE" sz="900" b="0" dirty="0"/>
              <a:t> hot-</a:t>
            </a:r>
            <a:r>
              <a:rPr lang="de-DE" sz="900" b="0" dirty="0" err="1"/>
              <a:t>melt</a:t>
            </a:r>
            <a:r>
              <a:rPr lang="de-DE" sz="900" b="0" dirty="0"/>
              <a:t> </a:t>
            </a:r>
            <a:r>
              <a:rPr lang="de-DE" sz="900" b="0" dirty="0" err="1"/>
              <a:t>adhesives</a:t>
            </a:r>
            <a:endParaRPr lang="de-DE" sz="900" b="0" dirty="0"/>
          </a:p>
          <a:p>
            <a:pPr marL="171450" lvl="1" indent="-171450">
              <a:spcAft>
                <a:spcPts val="0"/>
              </a:spcAft>
              <a:buFont typeface="Arial" panose="020B0604020202020204" pitchFamily="34" charset="0"/>
              <a:buChar char="•"/>
            </a:pPr>
            <a:r>
              <a:rPr lang="de-DE" sz="900" b="0" dirty="0" err="1"/>
              <a:t>Dosing</a:t>
            </a:r>
            <a:r>
              <a:rPr lang="de-DE" sz="900" b="0" dirty="0"/>
              <a:t> </a:t>
            </a:r>
            <a:r>
              <a:rPr lang="de-DE" sz="900" b="0" dirty="0" err="1"/>
              <a:t>pumps</a:t>
            </a:r>
            <a:r>
              <a:rPr lang="de-DE" sz="900" b="0" dirty="0"/>
              <a:t> </a:t>
            </a:r>
            <a:r>
              <a:rPr lang="de-DE" sz="900" b="0" dirty="0" err="1"/>
              <a:t>for</a:t>
            </a:r>
            <a:r>
              <a:rPr lang="de-DE" sz="900" b="0" dirty="0"/>
              <a:t> </a:t>
            </a:r>
            <a:r>
              <a:rPr lang="de-DE" sz="900" b="0" dirty="0" err="1"/>
              <a:t>silicones</a:t>
            </a:r>
            <a:endParaRPr lang="de-DE" sz="900" b="0" dirty="0"/>
          </a:p>
          <a:p>
            <a:pPr marL="171450" lvl="1" indent="-171450">
              <a:spcAft>
                <a:spcPts val="0"/>
              </a:spcAft>
              <a:buFont typeface="Arial" panose="020B0604020202020204" pitchFamily="34" charset="0"/>
              <a:buChar char="•"/>
            </a:pPr>
            <a:r>
              <a:rPr lang="de-DE" sz="900" b="0" dirty="0"/>
              <a:t>Metering </a:t>
            </a:r>
            <a:r>
              <a:rPr lang="de-DE" sz="900" b="0" dirty="0" err="1"/>
              <a:t>pumps</a:t>
            </a:r>
            <a:r>
              <a:rPr lang="de-DE" sz="900" b="0" dirty="0"/>
              <a:t> </a:t>
            </a:r>
            <a:r>
              <a:rPr lang="de-DE" sz="900" b="0" dirty="0" err="1"/>
              <a:t>for</a:t>
            </a:r>
            <a:r>
              <a:rPr lang="de-DE" sz="900" b="0" dirty="0"/>
              <a:t> </a:t>
            </a:r>
            <a:r>
              <a:rPr lang="de-DE" sz="900" b="0" dirty="0" err="1"/>
              <a:t>oils</a:t>
            </a:r>
            <a:endParaRPr lang="de-DE" sz="900" b="0" dirty="0"/>
          </a:p>
          <a:p>
            <a:pPr marL="171450" lvl="1" indent="-171450">
              <a:spcAft>
                <a:spcPts val="0"/>
              </a:spcAft>
              <a:buFont typeface="Arial" panose="020B0604020202020204" pitchFamily="34" charset="0"/>
              <a:buChar char="•"/>
            </a:pPr>
            <a:r>
              <a:rPr lang="de-DE" sz="900" b="0" dirty="0" err="1"/>
              <a:t>Eccentric</a:t>
            </a:r>
            <a:r>
              <a:rPr lang="de-DE" sz="900" b="0" dirty="0"/>
              <a:t> </a:t>
            </a:r>
            <a:r>
              <a:rPr lang="de-DE" sz="900" b="0" dirty="0" err="1"/>
              <a:t>screw</a:t>
            </a:r>
            <a:r>
              <a:rPr lang="de-DE" sz="900" b="0" dirty="0"/>
              <a:t> </a:t>
            </a:r>
            <a:r>
              <a:rPr lang="de-DE" sz="900" b="0" dirty="0" err="1"/>
              <a:t>pumps</a:t>
            </a:r>
            <a:r>
              <a:rPr lang="de-DE" sz="900" b="0" dirty="0"/>
              <a:t> </a:t>
            </a:r>
            <a:r>
              <a:rPr lang="de-DE" sz="900" b="0" dirty="0" err="1"/>
              <a:t>for</a:t>
            </a:r>
            <a:r>
              <a:rPr lang="de-DE" sz="900" b="0" dirty="0"/>
              <a:t> </a:t>
            </a:r>
            <a:r>
              <a:rPr lang="de-DE" sz="900" b="0" dirty="0" err="1"/>
              <a:t>filled</a:t>
            </a:r>
            <a:r>
              <a:rPr lang="de-DE" sz="900" b="0" dirty="0"/>
              <a:t> </a:t>
            </a:r>
            <a:r>
              <a:rPr lang="de-DE" sz="900" b="0" dirty="0" err="1"/>
              <a:t>media</a:t>
            </a:r>
            <a:endParaRPr lang="de-DE" sz="900" b="0" dirty="0"/>
          </a:p>
          <a:p>
            <a:pPr lvl="1">
              <a:spcAft>
                <a:spcPts val="0"/>
              </a:spcAft>
            </a:pPr>
            <a:endParaRPr lang="de-DE" sz="900" b="0" dirty="0"/>
          </a:p>
        </p:txBody>
      </p:sp>
    </p:spTree>
    <p:extLst>
      <p:ext uri="{BB962C8B-B14F-4D97-AF65-F5344CB8AC3E}">
        <p14:creationId xmlns:p14="http://schemas.microsoft.com/office/powerpoint/2010/main" val="238274317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896F74A-D53F-47D7-9A31-8C5D8375BDC2}"/>
              </a:ext>
            </a:extLst>
          </p:cNvPr>
          <p:cNvSpPr>
            <a:spLocks noGrp="1"/>
          </p:cNvSpPr>
          <p:nvPr>
            <p:ph type="sldNum" sz="quarter" idx="15"/>
          </p:nvPr>
        </p:nvSpPr>
        <p:spPr/>
        <p:txBody>
          <a:bodyPr/>
          <a:lstStyle/>
          <a:p>
            <a:r>
              <a:rPr lang="en-US" noProof="0"/>
              <a:t>Page </a:t>
            </a:r>
            <a:fld id="{D126E9C2-5A98-4FED-83CF-BD978A28F274}" type="slidenum">
              <a:rPr lang="en-US" noProof="0" smtClean="0"/>
              <a:pPr/>
              <a:t>11</a:t>
            </a:fld>
            <a:endParaRPr lang="en-US" noProof="0" dirty="0"/>
          </a:p>
        </p:txBody>
      </p:sp>
      <p:sp>
        <p:nvSpPr>
          <p:cNvPr id="5" name="Titel 4">
            <a:extLst>
              <a:ext uri="{FF2B5EF4-FFF2-40B4-BE49-F238E27FC236}">
                <a16:creationId xmlns:a16="http://schemas.microsoft.com/office/drawing/2014/main" id="{FE28FF5B-892F-4EA1-8D07-565C86E4F8B3}"/>
              </a:ext>
            </a:extLst>
          </p:cNvPr>
          <p:cNvSpPr>
            <a:spLocks noGrp="1"/>
          </p:cNvSpPr>
          <p:nvPr>
            <p:ph type="title"/>
          </p:nvPr>
        </p:nvSpPr>
        <p:spPr/>
        <p:txBody>
          <a:bodyPr/>
          <a:lstStyle/>
          <a:p>
            <a:pPr rtl="0" eaLnBrk="1" latinLnBrk="0" hangingPunct="1"/>
            <a:r>
              <a:rPr lang="en-US" sz="2000" b="1" kern="1200" baseline="0" dirty="0">
                <a:solidFill>
                  <a:schemeClr val="tx1"/>
                </a:solidFill>
                <a:effectLst/>
                <a:latin typeface="+mj-lt"/>
                <a:ea typeface="+mj-ea"/>
                <a:cs typeface="+mj-cs"/>
              </a:rPr>
              <a:t>Automation Solutions </a:t>
            </a:r>
            <a:endParaRPr lang="de-DE" dirty="0">
              <a:effectLst/>
            </a:endParaRPr>
          </a:p>
        </p:txBody>
      </p:sp>
      <p:sp>
        <p:nvSpPr>
          <p:cNvPr id="6" name="Text Placeholder 5">
            <a:extLst>
              <a:ext uri="{FF2B5EF4-FFF2-40B4-BE49-F238E27FC236}">
                <a16:creationId xmlns:a16="http://schemas.microsoft.com/office/drawing/2014/main" id="{F4221DCC-3567-44DD-8299-1CB85CF2909E}"/>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b="1" dirty="0">
                <a:hlinkClick r:id="rId2"/>
              </a:rPr>
              <a:t>Automation Solutions </a:t>
            </a:r>
            <a:endParaRPr lang="en-US" sz="900" b="1" dirty="0"/>
          </a:p>
          <a:p>
            <a:pPr lvl="2"/>
            <a:r>
              <a:rPr lang="en-US" sz="900" dirty="0"/>
              <a:t>Digital Solutions</a:t>
            </a:r>
          </a:p>
        </p:txBody>
      </p:sp>
      <p:sp>
        <p:nvSpPr>
          <p:cNvPr id="7" name="Text Placeholder 5">
            <a:extLst>
              <a:ext uri="{FF2B5EF4-FFF2-40B4-BE49-F238E27FC236}">
                <a16:creationId xmlns:a16="http://schemas.microsoft.com/office/drawing/2014/main" id="{84AF1C2C-2D59-4BFC-92B6-0306B199FD6C}"/>
              </a:ext>
            </a:extLst>
          </p:cNvPr>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t>Automation Solutions in the Chemical Fiber Industry</a:t>
            </a:r>
          </a:p>
          <a:p>
            <a:pPr lvl="7"/>
            <a:r>
              <a:rPr lang="en-US" sz="900" dirty="0"/>
              <a:t>By offering highly sophisticated and proven robotized handling, packing, transportation and warehouse systems for the chemical fiber industry, in combination with a state of the art OPC-UA communication Platform with integrated MFC/MES systems, Oerlikon </a:t>
            </a:r>
            <a:r>
              <a:rPr lang="en-US" sz="900" dirty="0" err="1"/>
              <a:t>Barmag´s</a:t>
            </a:r>
            <a:r>
              <a:rPr lang="en-US" sz="900" dirty="0"/>
              <a:t> automation solutions have guaranteed since a very early stage turnkey supply to our customers, who are in need of a perfectly integrated production and logistic solution.</a:t>
            </a:r>
            <a:br>
              <a:rPr lang="en-US" sz="900" dirty="0"/>
            </a:br>
            <a:endParaRPr lang="de-DE" sz="900" dirty="0"/>
          </a:p>
        </p:txBody>
      </p:sp>
      <p:sp>
        <p:nvSpPr>
          <p:cNvPr id="11" name="Text Placeholder 5">
            <a:extLst>
              <a:ext uri="{FF2B5EF4-FFF2-40B4-BE49-F238E27FC236}">
                <a16:creationId xmlns:a16="http://schemas.microsoft.com/office/drawing/2014/main" id="{DFC67F8F-8099-447E-B66A-943579506C44}"/>
              </a:ext>
            </a:extLst>
          </p:cNvPr>
          <p:cNvSpPr txBox="1">
            <a:spLocks/>
          </p:cNvSpPr>
          <p:nvPr/>
        </p:nvSpPr>
        <p:spPr bwMode="gray">
          <a:xfrm>
            <a:off x="3242920" y="2067693"/>
            <a:ext cx="3561328" cy="2710645"/>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t>Automation Solutions</a:t>
            </a:r>
          </a:p>
          <a:p>
            <a:pPr marL="171450" lvl="1" indent="-171450">
              <a:spcAft>
                <a:spcPts val="0"/>
              </a:spcAft>
              <a:buFont typeface="Arial" panose="020B0604020202020204" pitchFamily="34" charset="0"/>
              <a:buChar char="•"/>
            </a:pPr>
            <a:r>
              <a:rPr lang="de-DE" sz="900" b="0" dirty="0" err="1"/>
              <a:t>Doffing</a:t>
            </a:r>
            <a:r>
              <a:rPr lang="de-DE" sz="900" b="0" dirty="0"/>
              <a:t> </a:t>
            </a:r>
            <a:r>
              <a:rPr lang="de-DE" sz="900" b="0" dirty="0" err="1"/>
              <a:t>for</a:t>
            </a:r>
            <a:r>
              <a:rPr lang="de-DE" sz="900" b="0" dirty="0"/>
              <a:t> Spinning Machines</a:t>
            </a:r>
          </a:p>
          <a:p>
            <a:pPr marL="171450" lvl="1" indent="-171450">
              <a:spcAft>
                <a:spcPts val="0"/>
              </a:spcAft>
              <a:buFont typeface="Arial" panose="020B0604020202020204" pitchFamily="34" charset="0"/>
              <a:buChar char="•"/>
            </a:pPr>
            <a:r>
              <a:rPr lang="de-DE" sz="900" b="0" dirty="0" err="1"/>
              <a:t>Doffing</a:t>
            </a:r>
            <a:r>
              <a:rPr lang="de-DE" sz="900" b="0" dirty="0"/>
              <a:t> </a:t>
            </a:r>
            <a:r>
              <a:rPr lang="de-DE" sz="900" b="0" dirty="0" err="1"/>
              <a:t>for</a:t>
            </a:r>
            <a:r>
              <a:rPr lang="de-DE" sz="900" b="0" dirty="0"/>
              <a:t> Texturing Machines</a:t>
            </a:r>
          </a:p>
          <a:p>
            <a:pPr marL="171450" lvl="1" indent="-171450">
              <a:spcAft>
                <a:spcPts val="0"/>
              </a:spcAft>
              <a:buFont typeface="Arial" panose="020B0604020202020204" pitchFamily="34" charset="0"/>
              <a:buChar char="•"/>
            </a:pPr>
            <a:r>
              <a:rPr lang="de-DE" sz="900" b="0" dirty="0"/>
              <a:t>Transport</a:t>
            </a:r>
          </a:p>
          <a:p>
            <a:pPr marL="171450" lvl="1" indent="-171450">
              <a:spcAft>
                <a:spcPts val="0"/>
              </a:spcAft>
              <a:buFont typeface="Arial" panose="020B0604020202020204" pitchFamily="34" charset="0"/>
              <a:buChar char="•"/>
            </a:pPr>
            <a:r>
              <a:rPr lang="de-DE" sz="900" b="0" dirty="0"/>
              <a:t>Multi Tray Storage</a:t>
            </a:r>
          </a:p>
          <a:p>
            <a:pPr marL="171450" lvl="1" indent="-171450">
              <a:spcAft>
                <a:spcPts val="0"/>
              </a:spcAft>
              <a:buFont typeface="Arial" panose="020B0604020202020204" pitchFamily="34" charset="0"/>
              <a:buChar char="•"/>
            </a:pPr>
            <a:r>
              <a:rPr lang="de-DE" sz="900" b="0" dirty="0" err="1"/>
              <a:t>Automatic</a:t>
            </a:r>
            <a:r>
              <a:rPr lang="de-DE" sz="900" b="0" dirty="0"/>
              <a:t> </a:t>
            </a:r>
            <a:r>
              <a:rPr lang="de-DE" sz="900" b="0" dirty="0" err="1"/>
              <a:t>Packing</a:t>
            </a:r>
            <a:endParaRPr lang="de-DE" sz="900" b="0" dirty="0"/>
          </a:p>
          <a:p>
            <a:pPr marL="171450" lvl="1" indent="-171450">
              <a:spcAft>
                <a:spcPts val="0"/>
              </a:spcAft>
              <a:buFont typeface="Arial" panose="020B0604020202020204" pitchFamily="34" charset="0"/>
              <a:buChar char="•"/>
            </a:pPr>
            <a:r>
              <a:rPr lang="de-DE" sz="900" b="0" dirty="0"/>
              <a:t>Pallet </a:t>
            </a:r>
            <a:r>
              <a:rPr lang="de-DE" sz="900" b="0" dirty="0" err="1"/>
              <a:t>Finishing</a:t>
            </a:r>
            <a:endParaRPr lang="de-DE" sz="900" b="0" dirty="0"/>
          </a:p>
          <a:p>
            <a:pPr marL="171450" lvl="1" indent="-171450">
              <a:spcAft>
                <a:spcPts val="0"/>
              </a:spcAft>
              <a:buFont typeface="Arial" panose="020B0604020202020204" pitchFamily="34" charset="0"/>
              <a:buChar char="•"/>
            </a:pPr>
            <a:r>
              <a:rPr lang="de-DE" sz="900" b="0" dirty="0"/>
              <a:t>High Bay Storage</a:t>
            </a:r>
          </a:p>
          <a:p>
            <a:pPr marL="171450" lvl="1" indent="-171450">
              <a:spcAft>
                <a:spcPts val="0"/>
              </a:spcAft>
              <a:buFont typeface="Arial" panose="020B0604020202020204" pitchFamily="34" charset="0"/>
              <a:buChar char="•"/>
            </a:pPr>
            <a:r>
              <a:rPr lang="de-DE" sz="900" b="0" dirty="0" err="1"/>
              <a:t>Wiping</a:t>
            </a:r>
            <a:r>
              <a:rPr lang="de-DE" sz="900" b="0" dirty="0"/>
              <a:t> Robot</a:t>
            </a:r>
          </a:p>
          <a:p>
            <a:pPr marL="171450" lvl="1" indent="-171450">
              <a:spcAft>
                <a:spcPts val="0"/>
              </a:spcAft>
              <a:buFont typeface="Arial" panose="020B0604020202020204" pitchFamily="34" charset="0"/>
              <a:buChar char="•"/>
            </a:pPr>
            <a:endParaRPr lang="de-DE" sz="900" b="0" dirty="0"/>
          </a:p>
          <a:p>
            <a:pPr lvl="1">
              <a:spcAft>
                <a:spcPts val="0"/>
              </a:spcAft>
            </a:pPr>
            <a:r>
              <a:rPr lang="en-US" sz="900" b="1" dirty="0">
                <a:solidFill>
                  <a:srgbClr val="FF0000"/>
                </a:solidFill>
                <a:hlinkClick r:id="rId2">
                  <a:extLst>
                    <a:ext uri="{A12FA001-AC4F-418D-AE19-62706E023703}">
                      <ahyp:hlinkClr xmlns:ahyp="http://schemas.microsoft.com/office/drawing/2018/hyperlinkcolor" val="tx"/>
                    </a:ext>
                  </a:extLst>
                </a:hlinkClick>
              </a:rPr>
              <a:t>&gt;&gt; more</a:t>
            </a:r>
            <a:endParaRPr lang="en-US" sz="900" b="1" dirty="0">
              <a:solidFill>
                <a:srgbClr val="FF0000"/>
              </a:solidFill>
            </a:endParaRPr>
          </a:p>
          <a:p>
            <a:pPr lvl="1">
              <a:spcAft>
                <a:spcPts val="0"/>
              </a:spcAft>
            </a:pPr>
            <a:endParaRPr lang="de-DE" sz="900" b="0" dirty="0"/>
          </a:p>
        </p:txBody>
      </p:sp>
      <p:pic>
        <p:nvPicPr>
          <p:cNvPr id="13" name="Grafik 12">
            <a:extLst>
              <a:ext uri="{FF2B5EF4-FFF2-40B4-BE49-F238E27FC236}">
                <a16:creationId xmlns:a16="http://schemas.microsoft.com/office/drawing/2014/main" id="{C0306180-0163-45B7-867C-E23807F1B656}"/>
              </a:ext>
            </a:extLst>
          </p:cNvPr>
          <p:cNvPicPr>
            <a:picLocks noChangeAspect="1"/>
          </p:cNvPicPr>
          <p:nvPr/>
        </p:nvPicPr>
        <p:blipFill rotWithShape="1">
          <a:blip r:embed="rId3"/>
          <a:srcRect l="32366" t="5451" r="61655" b="32125"/>
          <a:stretch/>
        </p:blipFill>
        <p:spPr>
          <a:xfrm>
            <a:off x="5661828" y="3637013"/>
            <a:ext cx="579709" cy="729868"/>
          </a:xfrm>
          <a:prstGeom prst="rect">
            <a:avLst/>
          </a:prstGeom>
        </p:spPr>
      </p:pic>
      <p:pic>
        <p:nvPicPr>
          <p:cNvPr id="14" name="Grafik 13">
            <a:extLst>
              <a:ext uri="{FF2B5EF4-FFF2-40B4-BE49-F238E27FC236}">
                <a16:creationId xmlns:a16="http://schemas.microsoft.com/office/drawing/2014/main" id="{9698CF1F-DB49-4BEB-92F8-8D7F39CDD1A7}"/>
              </a:ext>
            </a:extLst>
          </p:cNvPr>
          <p:cNvPicPr>
            <a:picLocks noChangeAspect="1"/>
          </p:cNvPicPr>
          <p:nvPr/>
        </p:nvPicPr>
        <p:blipFill rotWithShape="1">
          <a:blip r:embed="rId3"/>
          <a:srcRect t="37521" r="74258"/>
          <a:stretch/>
        </p:blipFill>
        <p:spPr>
          <a:xfrm>
            <a:off x="5660981" y="1774127"/>
            <a:ext cx="3124244" cy="914528"/>
          </a:xfrm>
          <a:prstGeom prst="rect">
            <a:avLst/>
          </a:prstGeom>
        </p:spPr>
      </p:pic>
      <p:pic>
        <p:nvPicPr>
          <p:cNvPr id="15" name="Grafik 14">
            <a:extLst>
              <a:ext uri="{FF2B5EF4-FFF2-40B4-BE49-F238E27FC236}">
                <a16:creationId xmlns:a16="http://schemas.microsoft.com/office/drawing/2014/main" id="{4AC1522E-86A1-4415-8C93-173B450BE3E1}"/>
              </a:ext>
            </a:extLst>
          </p:cNvPr>
          <p:cNvPicPr>
            <a:picLocks noChangeAspect="1"/>
          </p:cNvPicPr>
          <p:nvPr/>
        </p:nvPicPr>
        <p:blipFill rotWithShape="1">
          <a:blip r:embed="rId3"/>
          <a:srcRect l="43666" t="46436" r="30281"/>
          <a:stretch/>
        </p:blipFill>
        <p:spPr>
          <a:xfrm>
            <a:off x="5613153" y="2783074"/>
            <a:ext cx="3168353" cy="785638"/>
          </a:xfrm>
          <a:prstGeom prst="rect">
            <a:avLst/>
          </a:prstGeom>
        </p:spPr>
      </p:pic>
      <p:pic>
        <p:nvPicPr>
          <p:cNvPr id="16" name="Grafik 15">
            <a:extLst>
              <a:ext uri="{FF2B5EF4-FFF2-40B4-BE49-F238E27FC236}">
                <a16:creationId xmlns:a16="http://schemas.microsoft.com/office/drawing/2014/main" id="{84C9D8E2-21B6-4746-B486-73BCB9D20303}"/>
              </a:ext>
            </a:extLst>
          </p:cNvPr>
          <p:cNvPicPr>
            <a:picLocks noChangeAspect="1"/>
          </p:cNvPicPr>
          <p:nvPr/>
        </p:nvPicPr>
        <p:blipFill rotWithShape="1">
          <a:blip r:embed="rId3"/>
          <a:srcRect l="87895" t="44368" r="49"/>
          <a:stretch/>
        </p:blipFill>
        <p:spPr>
          <a:xfrm>
            <a:off x="7418362" y="3637013"/>
            <a:ext cx="1411774" cy="785638"/>
          </a:xfrm>
          <a:prstGeom prst="rect">
            <a:avLst/>
          </a:prstGeom>
        </p:spPr>
      </p:pic>
      <p:pic>
        <p:nvPicPr>
          <p:cNvPr id="17" name="Grafik 16">
            <a:extLst>
              <a:ext uri="{FF2B5EF4-FFF2-40B4-BE49-F238E27FC236}">
                <a16:creationId xmlns:a16="http://schemas.microsoft.com/office/drawing/2014/main" id="{3344CBEA-20C2-4694-B778-59A8BF17D8CC}"/>
              </a:ext>
            </a:extLst>
          </p:cNvPr>
          <p:cNvPicPr>
            <a:picLocks noChangeAspect="1"/>
          </p:cNvPicPr>
          <p:nvPr/>
        </p:nvPicPr>
        <p:blipFill rotWithShape="1">
          <a:blip r:embed="rId3"/>
          <a:srcRect l="75603" t="17065" r="18365" b="14766"/>
          <a:stretch/>
        </p:blipFill>
        <p:spPr>
          <a:xfrm>
            <a:off x="6366031" y="3632092"/>
            <a:ext cx="693190" cy="734789"/>
          </a:xfrm>
          <a:prstGeom prst="rect">
            <a:avLst/>
          </a:prstGeom>
        </p:spPr>
      </p:pic>
      <p:sp>
        <p:nvSpPr>
          <p:cNvPr id="18" name="Footer Placeholder 2">
            <a:extLst>
              <a:ext uri="{FF2B5EF4-FFF2-40B4-BE49-F238E27FC236}">
                <a16:creationId xmlns:a16="http://schemas.microsoft.com/office/drawing/2014/main" id="{5A403E86-4857-4F36-A22F-31201F7E6F9F}"/>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4"/>
              </a:rPr>
              <a:t>&gt;&gt; Picture </a:t>
            </a:r>
            <a:r>
              <a:rPr lang="de-DE" dirty="0" err="1">
                <a:solidFill>
                  <a:srgbClr val="FF0000"/>
                </a:solidFill>
                <a:hlinkClick r:id="rId4"/>
              </a:rPr>
              <a:t>download</a:t>
            </a:r>
            <a:r>
              <a:rPr lang="de-DE" dirty="0">
                <a:solidFill>
                  <a:srgbClr val="FF0000"/>
                </a:solidFill>
                <a:hlinkClick r:id="rId4"/>
              </a:rPr>
              <a:t> Automation Solutions</a:t>
            </a:r>
            <a:endParaRPr lang="de-DE" dirty="0">
              <a:solidFill>
                <a:srgbClr val="FF0000"/>
              </a:solidFill>
            </a:endParaRPr>
          </a:p>
        </p:txBody>
      </p:sp>
    </p:spTree>
    <p:extLst>
      <p:ext uri="{BB962C8B-B14F-4D97-AF65-F5344CB8AC3E}">
        <p14:creationId xmlns:p14="http://schemas.microsoft.com/office/powerpoint/2010/main" val="28007202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A2FE8428-10EB-47E7-A41A-8790ABE4D473}"/>
              </a:ext>
            </a:extLst>
          </p:cNvPr>
          <p:cNvSpPr>
            <a:spLocks noGrp="1"/>
          </p:cNvSpPr>
          <p:nvPr>
            <p:ph type="sldNum" sz="quarter" idx="15"/>
          </p:nvPr>
        </p:nvSpPr>
        <p:spPr/>
        <p:txBody>
          <a:bodyPr/>
          <a:lstStyle/>
          <a:p>
            <a:r>
              <a:rPr lang="en-US" noProof="0"/>
              <a:t>Page </a:t>
            </a:r>
            <a:fld id="{D126E9C2-5A98-4FED-83CF-BD978A28F274}" type="slidenum">
              <a:rPr lang="en-US" noProof="0" smtClean="0"/>
              <a:pPr/>
              <a:t>12</a:t>
            </a:fld>
            <a:endParaRPr lang="en-US" noProof="0" dirty="0"/>
          </a:p>
        </p:txBody>
      </p:sp>
      <p:sp>
        <p:nvSpPr>
          <p:cNvPr id="5" name="Titel 4">
            <a:extLst>
              <a:ext uri="{FF2B5EF4-FFF2-40B4-BE49-F238E27FC236}">
                <a16:creationId xmlns:a16="http://schemas.microsoft.com/office/drawing/2014/main" id="{16C47E3A-9A16-42C9-AA61-CC9ABE0E2BCB}"/>
              </a:ext>
            </a:extLst>
          </p:cNvPr>
          <p:cNvSpPr>
            <a:spLocks noGrp="1"/>
          </p:cNvSpPr>
          <p:nvPr>
            <p:ph type="title"/>
          </p:nvPr>
        </p:nvSpPr>
        <p:spPr/>
        <p:txBody>
          <a:bodyPr/>
          <a:lstStyle/>
          <a:p>
            <a:pPr rtl="0" eaLnBrk="1" latinLnBrk="0" hangingPunct="1"/>
            <a:r>
              <a:rPr lang="en-US" sz="2000" b="1" kern="1200" baseline="0" dirty="0">
                <a:solidFill>
                  <a:schemeClr val="tx1"/>
                </a:solidFill>
                <a:effectLst/>
                <a:latin typeface="+mj-lt"/>
                <a:ea typeface="+mj-ea"/>
                <a:cs typeface="+mj-cs"/>
              </a:rPr>
              <a:t>Digital Solutions</a:t>
            </a:r>
            <a:endParaRPr lang="de-DE" dirty="0">
              <a:effectLst/>
            </a:endParaRPr>
          </a:p>
        </p:txBody>
      </p:sp>
      <p:sp>
        <p:nvSpPr>
          <p:cNvPr id="6" name="Text Placeholder 5">
            <a:extLst>
              <a:ext uri="{FF2B5EF4-FFF2-40B4-BE49-F238E27FC236}">
                <a16:creationId xmlns:a16="http://schemas.microsoft.com/office/drawing/2014/main" id="{19772697-3AE5-4A56-AACC-D250381D0E10}"/>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b="1" dirty="0">
                <a:hlinkClick r:id="rId2"/>
              </a:rPr>
              <a:t>Digital Solutions</a:t>
            </a:r>
            <a:endParaRPr lang="en-US" sz="900" b="1" dirty="0"/>
          </a:p>
        </p:txBody>
      </p:sp>
      <p:sp>
        <p:nvSpPr>
          <p:cNvPr id="7" name="Text Placeholder 5">
            <a:extLst>
              <a:ext uri="{FF2B5EF4-FFF2-40B4-BE49-F238E27FC236}">
                <a16:creationId xmlns:a16="http://schemas.microsoft.com/office/drawing/2014/main" id="{9741C698-4DBC-467B-8774-6D2CC6655297}"/>
              </a:ext>
            </a:extLst>
          </p:cNvPr>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t>Oerlikon Polymer Processing Solutions software for your success.</a:t>
            </a:r>
          </a:p>
          <a:p>
            <a:pPr lvl="1">
              <a:spcAft>
                <a:spcPts val="0"/>
              </a:spcAft>
            </a:pPr>
            <a:r>
              <a:rPr lang="en-US" sz="900" dirty="0"/>
              <a:t>The digital factory is already reality: </a:t>
            </a:r>
            <a:endParaRPr lang="en-US" sz="900" b="0" dirty="0"/>
          </a:p>
          <a:p>
            <a:pPr marL="171450" lvl="1" indent="-171450">
              <a:spcAft>
                <a:spcPts val="0"/>
              </a:spcAft>
              <a:buFont typeface="Arial" panose="020B0604020202020204" pitchFamily="34" charset="0"/>
              <a:buChar char="•"/>
            </a:pPr>
            <a:r>
              <a:rPr lang="en-US" sz="900" b="0" dirty="0"/>
              <a:t>Datacenter in a box</a:t>
            </a:r>
          </a:p>
          <a:p>
            <a:pPr marL="171450" lvl="1" indent="-171450">
              <a:spcAft>
                <a:spcPts val="0"/>
              </a:spcAft>
              <a:buFont typeface="Arial" panose="020B0604020202020204" pitchFamily="34" charset="0"/>
              <a:buChar char="•"/>
            </a:pPr>
            <a:r>
              <a:rPr lang="en-US" sz="900" b="0" dirty="0"/>
              <a:t>Plant Operation Center (POC)</a:t>
            </a:r>
          </a:p>
          <a:p>
            <a:pPr marL="171450" lvl="1" indent="-171450">
              <a:spcAft>
                <a:spcPts val="0"/>
              </a:spcAft>
              <a:buFont typeface="Arial" panose="020B0604020202020204" pitchFamily="34" charset="0"/>
              <a:buChar char="•"/>
            </a:pPr>
            <a:r>
              <a:rPr lang="en-US" sz="900" b="0" dirty="0"/>
              <a:t>Fully Automated System (FAUS)</a:t>
            </a:r>
          </a:p>
          <a:p>
            <a:pPr marL="171450" lvl="1" indent="-171450">
              <a:spcAft>
                <a:spcPts val="0"/>
              </a:spcAft>
              <a:buFont typeface="Arial" panose="020B0604020202020204" pitchFamily="34" charset="0"/>
              <a:buChar char="•"/>
            </a:pPr>
            <a:r>
              <a:rPr lang="en-US" sz="900" b="0" dirty="0"/>
              <a:t>Artificial Intelligence Manufacturing (AIM)</a:t>
            </a:r>
          </a:p>
          <a:p>
            <a:pPr marL="171450" lvl="1" indent="-171450">
              <a:spcAft>
                <a:spcPts val="0"/>
              </a:spcAft>
              <a:buFont typeface="Arial" panose="020B0604020202020204" pitchFamily="34" charset="0"/>
              <a:buChar char="•"/>
            </a:pPr>
            <a:endParaRPr lang="en-US" sz="900" b="0" dirty="0"/>
          </a:p>
          <a:p>
            <a:pPr lvl="1">
              <a:spcAft>
                <a:spcPts val="0"/>
              </a:spcAft>
            </a:pPr>
            <a:r>
              <a:rPr lang="en-US" sz="900" b="1" dirty="0">
                <a:solidFill>
                  <a:srgbClr val="FF0000"/>
                </a:solidFill>
                <a:hlinkClick r:id="rId2">
                  <a:extLst>
                    <a:ext uri="{A12FA001-AC4F-418D-AE19-62706E023703}">
                      <ahyp:hlinkClr xmlns:ahyp="http://schemas.microsoft.com/office/drawing/2018/hyperlinkcolor" val="tx"/>
                    </a:ext>
                  </a:extLst>
                </a:hlinkClick>
              </a:rPr>
              <a:t>&gt;&gt; more </a:t>
            </a:r>
            <a:br>
              <a:rPr lang="en-US" sz="900" b="1" dirty="0">
                <a:solidFill>
                  <a:srgbClr val="FF0000"/>
                </a:solidFill>
                <a:hlinkClick r:id="rId3">
                  <a:extLst>
                    <a:ext uri="{A12FA001-AC4F-418D-AE19-62706E023703}">
                      <ahyp:hlinkClr xmlns:ahyp="http://schemas.microsoft.com/office/drawing/2018/hyperlinkcolor" val="tx"/>
                    </a:ext>
                  </a:extLst>
                </a:hlinkClick>
              </a:rPr>
            </a:br>
            <a:endParaRPr lang="de-DE" sz="900" b="0" dirty="0"/>
          </a:p>
          <a:p>
            <a:pPr lvl="7"/>
            <a:endParaRPr lang="en-US" sz="900" b="1" dirty="0"/>
          </a:p>
          <a:p>
            <a:pPr lvl="7"/>
            <a:endParaRPr lang="de-DE" sz="900" dirty="0">
              <a:solidFill>
                <a:srgbClr val="00B050"/>
              </a:solidFill>
            </a:endParaRPr>
          </a:p>
        </p:txBody>
      </p:sp>
      <p:pic>
        <p:nvPicPr>
          <p:cNvPr id="16" name="Grafik 15">
            <a:extLst>
              <a:ext uri="{FF2B5EF4-FFF2-40B4-BE49-F238E27FC236}">
                <a16:creationId xmlns:a16="http://schemas.microsoft.com/office/drawing/2014/main" id="{D5A0F84B-276D-46AB-9700-FBA27B52E5E7}"/>
              </a:ext>
            </a:extLst>
          </p:cNvPr>
          <p:cNvPicPr>
            <a:picLocks noChangeAspect="1"/>
          </p:cNvPicPr>
          <p:nvPr/>
        </p:nvPicPr>
        <p:blipFill>
          <a:blip r:embed="rId4"/>
          <a:stretch>
            <a:fillRect/>
          </a:stretch>
        </p:blipFill>
        <p:spPr>
          <a:xfrm>
            <a:off x="3648313" y="2931010"/>
            <a:ext cx="5148064" cy="1789782"/>
          </a:xfrm>
          <a:prstGeom prst="rect">
            <a:avLst/>
          </a:prstGeom>
        </p:spPr>
      </p:pic>
      <p:sp>
        <p:nvSpPr>
          <p:cNvPr id="9" name="Footer Placeholder 2">
            <a:extLst>
              <a:ext uri="{FF2B5EF4-FFF2-40B4-BE49-F238E27FC236}">
                <a16:creationId xmlns:a16="http://schemas.microsoft.com/office/drawing/2014/main" id="{84F16F6B-3B00-4AD0-A453-B94D6D44461C}"/>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5"/>
              </a:rPr>
              <a:t>&gt;&gt; Picture </a:t>
            </a:r>
            <a:r>
              <a:rPr lang="de-DE" dirty="0" err="1">
                <a:solidFill>
                  <a:srgbClr val="FF0000"/>
                </a:solidFill>
                <a:hlinkClick r:id="rId5"/>
              </a:rPr>
              <a:t>download</a:t>
            </a:r>
            <a:r>
              <a:rPr lang="de-DE" dirty="0">
                <a:solidFill>
                  <a:srgbClr val="FF0000"/>
                </a:solidFill>
                <a:hlinkClick r:id="rId5"/>
              </a:rPr>
              <a:t> Digital Solutions</a:t>
            </a:r>
            <a:endParaRPr lang="de-DE" dirty="0">
              <a:solidFill>
                <a:srgbClr val="FF0000"/>
              </a:solidFill>
            </a:endParaRPr>
          </a:p>
        </p:txBody>
      </p:sp>
    </p:spTree>
    <p:extLst>
      <p:ext uri="{BB962C8B-B14F-4D97-AF65-F5344CB8AC3E}">
        <p14:creationId xmlns:p14="http://schemas.microsoft.com/office/powerpoint/2010/main" val="278070591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D648F86D-C22F-40DC-A28F-397E96C4A26D}"/>
              </a:ext>
            </a:extLst>
          </p:cNvPr>
          <p:cNvSpPr>
            <a:spLocks noGrp="1"/>
          </p:cNvSpPr>
          <p:nvPr>
            <p:ph type="body" sz="quarter" idx="12"/>
          </p:nvPr>
        </p:nvSpPr>
        <p:spPr>
          <a:xfrm>
            <a:off x="358775" y="1203598"/>
            <a:ext cx="5385281" cy="1656631"/>
          </a:xfrm>
        </p:spPr>
        <p:txBody>
          <a:bodyPr/>
          <a:lstStyle/>
          <a:p>
            <a:r>
              <a:rPr lang="en-US" dirty="0"/>
              <a:t>For further information, please contact </a:t>
            </a:r>
          </a:p>
          <a:p>
            <a:r>
              <a:rPr lang="de-DE" dirty="0">
                <a:hlinkClick r:id="rId3"/>
              </a:rPr>
              <a:t>Locations | Oerlikon</a:t>
            </a:r>
            <a:endParaRPr lang="de-DE" dirty="0"/>
          </a:p>
          <a:p>
            <a:r>
              <a:rPr lang="de-DE" dirty="0" err="1"/>
              <a:t>Or</a:t>
            </a:r>
            <a:r>
              <a:rPr lang="de-DE" dirty="0"/>
              <a:t> mail </a:t>
            </a:r>
            <a:r>
              <a:rPr lang="de-DE" dirty="0" err="1"/>
              <a:t>to</a:t>
            </a:r>
            <a:r>
              <a:rPr lang="de-DE" dirty="0"/>
              <a:t>:</a:t>
            </a:r>
          </a:p>
          <a:p>
            <a:r>
              <a:rPr lang="de-DE" dirty="0">
                <a:hlinkClick r:id="rId4"/>
              </a:rPr>
              <a:t>Oerlikon Polymer Processing Solutions </a:t>
            </a:r>
            <a:endParaRPr lang="de-DE" dirty="0"/>
          </a:p>
          <a:p>
            <a:endParaRPr lang="de-DE" dirty="0"/>
          </a:p>
          <a:p>
            <a:endParaRPr lang="de-DE" dirty="0"/>
          </a:p>
        </p:txBody>
      </p:sp>
      <p:pic>
        <p:nvPicPr>
          <p:cNvPr id="9" name="Bildplatzhalter 24" descr="Ein Bild, das Gebäude, Katze, draußen enthält.&#10;&#10;Automatisch generierte Beschreibung">
            <a:extLst>
              <a:ext uri="{FF2B5EF4-FFF2-40B4-BE49-F238E27FC236}">
                <a16:creationId xmlns:a16="http://schemas.microsoft.com/office/drawing/2014/main" id="{28BFF6FE-ED29-43EB-B884-ABDFB44257CD}"/>
              </a:ext>
            </a:extLst>
          </p:cNvPr>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l="22" r="22"/>
          <a:stretch>
            <a:fillRect/>
          </a:stretch>
        </p:blipFill>
        <p:spPr>
          <a:xfrm>
            <a:off x="0" y="2716213"/>
            <a:ext cx="9144000" cy="2427287"/>
          </a:xfrm>
        </p:spPr>
      </p:pic>
      <p:sp>
        <p:nvSpPr>
          <p:cNvPr id="2" name="Titel 1">
            <a:extLst>
              <a:ext uri="{FF2B5EF4-FFF2-40B4-BE49-F238E27FC236}">
                <a16:creationId xmlns:a16="http://schemas.microsoft.com/office/drawing/2014/main" id="{C6EAD81C-888C-468D-AE3E-CFB7B7884A7C}"/>
              </a:ext>
            </a:extLst>
          </p:cNvPr>
          <p:cNvSpPr>
            <a:spLocks noGrp="1"/>
          </p:cNvSpPr>
          <p:nvPr>
            <p:ph type="title" idx="4294967295"/>
          </p:nvPr>
        </p:nvSpPr>
        <p:spPr/>
        <p:txBody>
          <a:bodyPr/>
          <a:lstStyle/>
          <a:p>
            <a:r>
              <a:rPr lang="de-DE" dirty="0" err="1">
                <a:solidFill>
                  <a:schemeClr val="bg1"/>
                </a:solidFill>
              </a:rPr>
              <a:t>Thank</a:t>
            </a:r>
            <a:r>
              <a:rPr lang="de-DE" baseline="0" dirty="0">
                <a:solidFill>
                  <a:schemeClr val="bg1"/>
                </a:solidFill>
              </a:rPr>
              <a:t> </a:t>
            </a:r>
            <a:r>
              <a:rPr lang="de-DE" baseline="0" dirty="0" err="1">
                <a:solidFill>
                  <a:schemeClr val="bg1"/>
                </a:solidFill>
              </a:rPr>
              <a:t>you</a:t>
            </a:r>
            <a:r>
              <a:rPr lang="de-DE" baseline="0" dirty="0">
                <a:solidFill>
                  <a:schemeClr val="bg1"/>
                </a:solidFill>
              </a:rPr>
              <a:t> Kontakt</a:t>
            </a:r>
            <a:endParaRPr lang="de-DE" dirty="0">
              <a:solidFill>
                <a:schemeClr val="bg1"/>
              </a:solidFill>
            </a:endParaRPr>
          </a:p>
        </p:txBody>
      </p:sp>
    </p:spTree>
    <p:extLst>
      <p:ext uri="{BB962C8B-B14F-4D97-AF65-F5344CB8AC3E}">
        <p14:creationId xmlns:p14="http://schemas.microsoft.com/office/powerpoint/2010/main" val="21498211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2</a:t>
            </a:fld>
            <a:endParaRPr lang="de-DE" dirty="0"/>
          </a:p>
        </p:txBody>
      </p:sp>
      <p:sp>
        <p:nvSpPr>
          <p:cNvPr id="5" name="Title 4"/>
          <p:cNvSpPr>
            <a:spLocks noGrp="1"/>
          </p:cNvSpPr>
          <p:nvPr>
            <p:ph type="title"/>
          </p:nvPr>
        </p:nvSpPr>
        <p:spPr/>
        <p:txBody>
          <a:bodyPr/>
          <a:lstStyle/>
          <a:p>
            <a:r>
              <a:rPr lang="en-US" noProof="0" dirty="0"/>
              <a:t>Our Products: </a:t>
            </a:r>
            <a:r>
              <a:rPr lang="en-US" noProof="0" dirty="0">
                <a:hlinkClick r:id="rId3"/>
              </a:rPr>
              <a:t>From Melt to </a:t>
            </a:r>
            <a:r>
              <a:rPr lang="de-DE" dirty="0">
                <a:hlinkClick r:id="rId3"/>
              </a:rPr>
              <a:t>…</a:t>
            </a:r>
            <a:endParaRPr lang="en-US" noProof="0" dirty="0"/>
          </a:p>
        </p:txBody>
      </p:sp>
      <p:grpSp>
        <p:nvGrpSpPr>
          <p:cNvPr id="181" name="Gruppieren 180">
            <a:extLst>
              <a:ext uri="{FF2B5EF4-FFF2-40B4-BE49-F238E27FC236}">
                <a16:creationId xmlns:a16="http://schemas.microsoft.com/office/drawing/2014/main" id="{92C6B94A-F420-4D4E-9687-42948DB923A9}"/>
              </a:ext>
            </a:extLst>
          </p:cNvPr>
          <p:cNvGrpSpPr/>
          <p:nvPr/>
        </p:nvGrpSpPr>
        <p:grpSpPr>
          <a:xfrm>
            <a:off x="2897783" y="909258"/>
            <a:ext cx="5889630" cy="3822732"/>
            <a:chOff x="2518685" y="413185"/>
            <a:chExt cx="6301787" cy="4089842"/>
          </a:xfrm>
        </p:grpSpPr>
        <p:cxnSp>
          <p:nvCxnSpPr>
            <p:cNvPr id="38" name="Gerade Verbindung 116">
              <a:extLst>
                <a:ext uri="{FF2B5EF4-FFF2-40B4-BE49-F238E27FC236}">
                  <a16:creationId xmlns:a16="http://schemas.microsoft.com/office/drawing/2014/main" id="{2C60566D-E1C9-4D76-9516-E09CC9540E27}"/>
                </a:ext>
              </a:extLst>
            </p:cNvPr>
            <p:cNvCxnSpPr>
              <a:endCxn id="129" idx="0"/>
            </p:cNvCxnSpPr>
            <p:nvPr/>
          </p:nvCxnSpPr>
          <p:spPr>
            <a:xfrm>
              <a:off x="7688583" y="3237023"/>
              <a:ext cx="0" cy="1220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116">
              <a:extLst>
                <a:ext uri="{FF2B5EF4-FFF2-40B4-BE49-F238E27FC236}">
                  <a16:creationId xmlns:a16="http://schemas.microsoft.com/office/drawing/2014/main" id="{8D8DCF5C-66F3-49B4-A2A9-0F2BDECD9D1D}"/>
                </a:ext>
              </a:extLst>
            </p:cNvPr>
            <p:cNvCxnSpPr/>
            <p:nvPr/>
          </p:nvCxnSpPr>
          <p:spPr>
            <a:xfrm>
              <a:off x="6793244" y="3238304"/>
              <a:ext cx="0" cy="1145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165">
              <a:extLst>
                <a:ext uri="{FF2B5EF4-FFF2-40B4-BE49-F238E27FC236}">
                  <a16:creationId xmlns:a16="http://schemas.microsoft.com/office/drawing/2014/main" id="{DB986ECA-1AD5-40C7-BDC9-EE3DE3388D3F}"/>
                </a:ext>
              </a:extLst>
            </p:cNvPr>
            <p:cNvCxnSpPr/>
            <p:nvPr/>
          </p:nvCxnSpPr>
          <p:spPr>
            <a:xfrm>
              <a:off x="2865638" y="3092832"/>
              <a:ext cx="0" cy="2811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hteck 40">
              <a:extLst>
                <a:ext uri="{FF2B5EF4-FFF2-40B4-BE49-F238E27FC236}">
                  <a16:creationId xmlns:a16="http://schemas.microsoft.com/office/drawing/2014/main" id="{2EEF3621-4208-471E-AAF1-0A6350B1F775}"/>
                </a:ext>
              </a:extLst>
            </p:cNvPr>
            <p:cNvSpPr/>
            <p:nvPr/>
          </p:nvSpPr>
          <p:spPr>
            <a:xfrm>
              <a:off x="2535891" y="3343780"/>
              <a:ext cx="639446"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cxnSp>
          <p:nvCxnSpPr>
            <p:cNvPr id="42" name="Gerade Verbindung 75">
              <a:extLst>
                <a:ext uri="{FF2B5EF4-FFF2-40B4-BE49-F238E27FC236}">
                  <a16:creationId xmlns:a16="http://schemas.microsoft.com/office/drawing/2014/main" id="{663E201A-2248-4A83-BD71-E53434316061}"/>
                </a:ext>
              </a:extLst>
            </p:cNvPr>
            <p:cNvCxnSpPr/>
            <p:nvPr/>
          </p:nvCxnSpPr>
          <p:spPr>
            <a:xfrm>
              <a:off x="5669341" y="1167678"/>
              <a:ext cx="0" cy="1382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3" name="Bild 17" descr="Polycondensation.jpg">
              <a:extLst>
                <a:ext uri="{FF2B5EF4-FFF2-40B4-BE49-F238E27FC236}">
                  <a16:creationId xmlns:a16="http://schemas.microsoft.com/office/drawing/2014/main" id="{FB61F96D-129F-4311-9203-97C973ABF2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9101" y="1295783"/>
              <a:ext cx="352044" cy="269748"/>
            </a:xfrm>
            <a:prstGeom prst="rect">
              <a:avLst/>
            </a:prstGeom>
          </p:spPr>
        </p:pic>
        <p:pic>
          <p:nvPicPr>
            <p:cNvPr id="44" name="Bild 18" descr="Filament spinning.jpg">
              <a:extLst>
                <a:ext uri="{FF2B5EF4-FFF2-40B4-BE49-F238E27FC236}">
                  <a16:creationId xmlns:a16="http://schemas.microsoft.com/office/drawing/2014/main" id="{9F65B4FF-A496-4D54-80D6-B7AE982EA32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60594" y="1893755"/>
              <a:ext cx="352044" cy="269748"/>
            </a:xfrm>
            <a:prstGeom prst="rect">
              <a:avLst/>
            </a:prstGeom>
          </p:spPr>
        </p:pic>
        <p:pic>
          <p:nvPicPr>
            <p:cNvPr id="45" name="Bild 21" descr="Staple fiber.jpg">
              <a:extLst>
                <a:ext uri="{FF2B5EF4-FFF2-40B4-BE49-F238E27FC236}">
                  <a16:creationId xmlns:a16="http://schemas.microsoft.com/office/drawing/2014/main" id="{FA2E30C2-7001-42CA-A284-67F7C5BA95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66803" y="1893233"/>
              <a:ext cx="352044" cy="269748"/>
            </a:xfrm>
            <a:prstGeom prst="rect">
              <a:avLst/>
            </a:prstGeom>
          </p:spPr>
        </p:pic>
        <p:pic>
          <p:nvPicPr>
            <p:cNvPr id="46" name="Bild 22" descr="Nonwoven.jpg">
              <a:extLst>
                <a:ext uri="{FF2B5EF4-FFF2-40B4-BE49-F238E27FC236}">
                  <a16:creationId xmlns:a16="http://schemas.microsoft.com/office/drawing/2014/main" id="{6A738FB0-0643-4346-92FF-CF8D3C18F9E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61381" y="1893421"/>
              <a:ext cx="352044" cy="269748"/>
            </a:xfrm>
            <a:prstGeom prst="rect">
              <a:avLst/>
            </a:prstGeom>
          </p:spPr>
        </p:pic>
        <p:pic>
          <p:nvPicPr>
            <p:cNvPr id="47" name="Bild 25" descr="IDY.jpg">
              <a:extLst>
                <a:ext uri="{FF2B5EF4-FFF2-40B4-BE49-F238E27FC236}">
                  <a16:creationId xmlns:a16="http://schemas.microsoft.com/office/drawing/2014/main" id="{4030B2CC-38D2-4F55-811A-B1DE9509D29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98570" y="2490282"/>
              <a:ext cx="539496" cy="269748"/>
            </a:xfrm>
            <a:prstGeom prst="rect">
              <a:avLst/>
            </a:prstGeom>
          </p:spPr>
        </p:pic>
        <p:pic>
          <p:nvPicPr>
            <p:cNvPr id="48" name="Bild 26" descr="BCF.jpg">
              <a:hlinkClick r:id="" action="ppaction://noaction"/>
              <a:extLst>
                <a:ext uri="{FF2B5EF4-FFF2-40B4-BE49-F238E27FC236}">
                  <a16:creationId xmlns:a16="http://schemas.microsoft.com/office/drawing/2014/main" id="{927D9FA5-8469-40FD-995B-9AC72AF453F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06363" y="2490004"/>
              <a:ext cx="539496" cy="269748"/>
            </a:xfrm>
            <a:prstGeom prst="rect">
              <a:avLst/>
            </a:prstGeom>
          </p:spPr>
        </p:pic>
        <p:pic>
          <p:nvPicPr>
            <p:cNvPr id="49" name="Bild 27" descr="Airlaid.jpg">
              <a:extLst>
                <a:ext uri="{FF2B5EF4-FFF2-40B4-BE49-F238E27FC236}">
                  <a16:creationId xmlns:a16="http://schemas.microsoft.com/office/drawing/2014/main" id="{89ABF9BB-F5A8-4927-ABEB-1991F6B1CC3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14465" y="2489166"/>
              <a:ext cx="539496" cy="269748"/>
            </a:xfrm>
            <a:prstGeom prst="rect">
              <a:avLst/>
            </a:prstGeom>
          </p:spPr>
        </p:pic>
        <p:pic>
          <p:nvPicPr>
            <p:cNvPr id="50" name="Bild 28" descr="Meltblown.jpg">
              <a:extLst>
                <a:ext uri="{FF2B5EF4-FFF2-40B4-BE49-F238E27FC236}">
                  <a16:creationId xmlns:a16="http://schemas.microsoft.com/office/drawing/2014/main" id="{ED318604-D680-4ED0-BBEB-486BAB0D2FD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06224" y="2489412"/>
              <a:ext cx="539496" cy="269748"/>
            </a:xfrm>
            <a:prstGeom prst="rect">
              <a:avLst/>
            </a:prstGeom>
          </p:spPr>
        </p:pic>
        <p:pic>
          <p:nvPicPr>
            <p:cNvPr id="51" name="Bild 29" descr="Spunbond.jpg">
              <a:extLst>
                <a:ext uri="{FF2B5EF4-FFF2-40B4-BE49-F238E27FC236}">
                  <a16:creationId xmlns:a16="http://schemas.microsoft.com/office/drawing/2014/main" id="{1EB5D2A4-B3AE-4EDC-917D-65AFA106575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212525" y="2490004"/>
              <a:ext cx="539496" cy="269748"/>
            </a:xfrm>
            <a:prstGeom prst="rect">
              <a:avLst/>
            </a:prstGeom>
          </p:spPr>
        </p:pic>
        <p:pic>
          <p:nvPicPr>
            <p:cNvPr id="52" name="Bild 30" descr="Texturing DTY.jpg">
              <a:extLst>
                <a:ext uri="{FF2B5EF4-FFF2-40B4-BE49-F238E27FC236}">
                  <a16:creationId xmlns:a16="http://schemas.microsoft.com/office/drawing/2014/main" id="{A13E959A-69CC-49B9-93D2-C98CF3C5696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646618" y="3356519"/>
              <a:ext cx="400006" cy="306498"/>
            </a:xfrm>
            <a:prstGeom prst="rect">
              <a:avLst/>
            </a:prstGeom>
          </p:spPr>
        </p:pic>
        <p:cxnSp>
          <p:nvCxnSpPr>
            <p:cNvPr id="53" name="Gerade Verbindung 120">
              <a:extLst>
                <a:ext uri="{FF2B5EF4-FFF2-40B4-BE49-F238E27FC236}">
                  <a16:creationId xmlns:a16="http://schemas.microsoft.com/office/drawing/2014/main" id="{7FD47A0A-5A9E-4E93-A6DB-C9A6A892E6A2}"/>
                </a:ext>
              </a:extLst>
            </p:cNvPr>
            <p:cNvCxnSpPr/>
            <p:nvPr/>
          </p:nvCxnSpPr>
          <p:spPr>
            <a:xfrm>
              <a:off x="8057522" y="2185030"/>
              <a:ext cx="0" cy="1401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21">
              <a:extLst>
                <a:ext uri="{FF2B5EF4-FFF2-40B4-BE49-F238E27FC236}">
                  <a16:creationId xmlns:a16="http://schemas.microsoft.com/office/drawing/2014/main" id="{266BD597-132E-42FA-9ED6-B9180B4851FD}"/>
                </a:ext>
              </a:extLst>
            </p:cNvPr>
            <p:cNvCxnSpPr/>
            <p:nvPr/>
          </p:nvCxnSpPr>
          <p:spPr>
            <a:xfrm>
              <a:off x="3276490" y="2185030"/>
              <a:ext cx="0" cy="1401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152">
              <a:extLst>
                <a:ext uri="{FF2B5EF4-FFF2-40B4-BE49-F238E27FC236}">
                  <a16:creationId xmlns:a16="http://schemas.microsoft.com/office/drawing/2014/main" id="{7B301A78-B98B-4C5C-A605-1E08FB0EEDEE}"/>
                </a:ext>
              </a:extLst>
            </p:cNvPr>
            <p:cNvCxnSpPr/>
            <p:nvPr/>
          </p:nvCxnSpPr>
          <p:spPr>
            <a:xfrm>
              <a:off x="7672559" y="2322127"/>
              <a:ext cx="0" cy="1425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153">
              <a:extLst>
                <a:ext uri="{FF2B5EF4-FFF2-40B4-BE49-F238E27FC236}">
                  <a16:creationId xmlns:a16="http://schemas.microsoft.com/office/drawing/2014/main" id="{BED0C260-F24B-44BC-9721-F7D9958A9707}"/>
                </a:ext>
              </a:extLst>
            </p:cNvPr>
            <p:cNvCxnSpPr/>
            <p:nvPr/>
          </p:nvCxnSpPr>
          <p:spPr>
            <a:xfrm>
              <a:off x="4467746" y="2325171"/>
              <a:ext cx="0" cy="1394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155">
              <a:extLst>
                <a:ext uri="{FF2B5EF4-FFF2-40B4-BE49-F238E27FC236}">
                  <a16:creationId xmlns:a16="http://schemas.microsoft.com/office/drawing/2014/main" id="{5ED230A6-2D04-464A-9561-042619DE648F}"/>
                </a:ext>
              </a:extLst>
            </p:cNvPr>
            <p:cNvCxnSpPr/>
            <p:nvPr/>
          </p:nvCxnSpPr>
          <p:spPr>
            <a:xfrm>
              <a:off x="3676738" y="2325171"/>
              <a:ext cx="0" cy="1394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Freihandform 89">
              <a:extLst>
                <a:ext uri="{FF2B5EF4-FFF2-40B4-BE49-F238E27FC236}">
                  <a16:creationId xmlns:a16="http://schemas.microsoft.com/office/drawing/2014/main" id="{B57ECE52-3E71-48D2-B53B-162B2BCAD47C}"/>
                </a:ext>
              </a:extLst>
            </p:cNvPr>
            <p:cNvSpPr/>
            <p:nvPr/>
          </p:nvSpPr>
          <p:spPr>
            <a:xfrm>
              <a:off x="2865638" y="2322590"/>
              <a:ext cx="3189694" cy="462533"/>
            </a:xfrm>
            <a:custGeom>
              <a:avLst/>
              <a:gdLst>
                <a:gd name="connsiteX0" fmla="*/ 0 w 8327798"/>
                <a:gd name="connsiteY0" fmla="*/ 449521 h 449521"/>
                <a:gd name="connsiteX1" fmla="*/ 11239 w 8327798"/>
                <a:gd name="connsiteY1" fmla="*/ 0 h 449521"/>
                <a:gd name="connsiteX2" fmla="*/ 8327798 w 8327798"/>
                <a:gd name="connsiteY2" fmla="*/ 0 h 449521"/>
                <a:gd name="connsiteX3" fmla="*/ 8327798 w 8327798"/>
                <a:gd name="connsiteY3" fmla="*/ 449521 h 449521"/>
                <a:gd name="connsiteX0" fmla="*/ 296736 w 8316559"/>
                <a:gd name="connsiteY0" fmla="*/ 303471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341571"/>
                <a:gd name="connsiteX1" fmla="*/ 0 w 8316559"/>
                <a:gd name="connsiteY1" fmla="*/ 0 h 341571"/>
                <a:gd name="connsiteX2" fmla="*/ 8316559 w 8316559"/>
                <a:gd name="connsiteY2" fmla="*/ 0 h 341571"/>
                <a:gd name="connsiteX3" fmla="*/ 8316559 w 8316559"/>
                <a:gd name="connsiteY3" fmla="*/ 341571 h 341571"/>
              </a:gdLst>
              <a:ahLst/>
              <a:cxnLst>
                <a:cxn ang="0">
                  <a:pos x="connsiteX0" y="connsiteY0"/>
                </a:cxn>
                <a:cxn ang="0">
                  <a:pos x="connsiteX1" y="connsiteY1"/>
                </a:cxn>
                <a:cxn ang="0">
                  <a:pos x="connsiteX2" y="connsiteY2"/>
                </a:cxn>
                <a:cxn ang="0">
                  <a:pos x="connsiteX3" y="connsiteY3"/>
                </a:cxn>
              </a:cxnLst>
              <a:rect l="l" t="t" r="r" b="b"/>
              <a:pathLst>
                <a:path w="8316559" h="341571">
                  <a:moveTo>
                    <a:pt x="1461" y="338396"/>
                  </a:moveTo>
                  <a:lnTo>
                    <a:pt x="0" y="0"/>
                  </a:lnTo>
                  <a:lnTo>
                    <a:pt x="8316559" y="0"/>
                  </a:lnTo>
                  <a:lnTo>
                    <a:pt x="8316559" y="341571"/>
                  </a:lnTo>
                </a:path>
              </a:pathLst>
            </a:custGeom>
            <a:ln>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350"/>
            </a:p>
          </p:txBody>
        </p:sp>
        <p:sp>
          <p:nvSpPr>
            <p:cNvPr id="59" name="Freihandform 99">
              <a:extLst>
                <a:ext uri="{FF2B5EF4-FFF2-40B4-BE49-F238E27FC236}">
                  <a16:creationId xmlns:a16="http://schemas.microsoft.com/office/drawing/2014/main" id="{1A1ED132-A88D-4DAB-8972-5876878C8842}"/>
                </a:ext>
              </a:extLst>
            </p:cNvPr>
            <p:cNvSpPr/>
            <p:nvPr/>
          </p:nvSpPr>
          <p:spPr>
            <a:xfrm>
              <a:off x="6884027" y="2322590"/>
              <a:ext cx="1594499" cy="142061"/>
            </a:xfrm>
            <a:custGeom>
              <a:avLst/>
              <a:gdLst>
                <a:gd name="connsiteX0" fmla="*/ 0 w 8327798"/>
                <a:gd name="connsiteY0" fmla="*/ 449521 h 449521"/>
                <a:gd name="connsiteX1" fmla="*/ 11239 w 8327798"/>
                <a:gd name="connsiteY1" fmla="*/ 0 h 449521"/>
                <a:gd name="connsiteX2" fmla="*/ 8327798 w 8327798"/>
                <a:gd name="connsiteY2" fmla="*/ 0 h 449521"/>
                <a:gd name="connsiteX3" fmla="*/ 8327798 w 8327798"/>
                <a:gd name="connsiteY3" fmla="*/ 449521 h 449521"/>
                <a:gd name="connsiteX0" fmla="*/ 296736 w 8316559"/>
                <a:gd name="connsiteY0" fmla="*/ 303471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341571"/>
                <a:gd name="connsiteX1" fmla="*/ 0 w 8316559"/>
                <a:gd name="connsiteY1" fmla="*/ 0 h 341571"/>
                <a:gd name="connsiteX2" fmla="*/ 8316559 w 8316559"/>
                <a:gd name="connsiteY2" fmla="*/ 0 h 341571"/>
                <a:gd name="connsiteX3" fmla="*/ 8316559 w 8316559"/>
                <a:gd name="connsiteY3" fmla="*/ 341571 h 341571"/>
              </a:gdLst>
              <a:ahLst/>
              <a:cxnLst>
                <a:cxn ang="0">
                  <a:pos x="connsiteX0" y="connsiteY0"/>
                </a:cxn>
                <a:cxn ang="0">
                  <a:pos x="connsiteX1" y="connsiteY1"/>
                </a:cxn>
                <a:cxn ang="0">
                  <a:pos x="connsiteX2" y="connsiteY2"/>
                </a:cxn>
                <a:cxn ang="0">
                  <a:pos x="connsiteX3" y="connsiteY3"/>
                </a:cxn>
              </a:cxnLst>
              <a:rect l="l" t="t" r="r" b="b"/>
              <a:pathLst>
                <a:path w="8316559" h="341571">
                  <a:moveTo>
                    <a:pt x="1461" y="338396"/>
                  </a:moveTo>
                  <a:lnTo>
                    <a:pt x="0" y="0"/>
                  </a:lnTo>
                  <a:lnTo>
                    <a:pt x="8316559" y="0"/>
                  </a:lnTo>
                  <a:lnTo>
                    <a:pt x="8316559" y="341571"/>
                  </a:lnTo>
                </a:path>
              </a:pathLst>
            </a:custGeom>
            <a:ln>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350"/>
            </a:p>
          </p:txBody>
        </p:sp>
        <p:cxnSp>
          <p:nvCxnSpPr>
            <p:cNvPr id="60" name="Gerade Verbindung 101">
              <a:extLst>
                <a:ext uri="{FF2B5EF4-FFF2-40B4-BE49-F238E27FC236}">
                  <a16:creationId xmlns:a16="http://schemas.microsoft.com/office/drawing/2014/main" id="{9B3CBE48-A650-4B9C-805D-76F6FBB8D7A3}"/>
                </a:ext>
              </a:extLst>
            </p:cNvPr>
            <p:cNvCxnSpPr/>
            <p:nvPr/>
          </p:nvCxnSpPr>
          <p:spPr>
            <a:xfrm>
              <a:off x="5277836" y="2322127"/>
              <a:ext cx="0" cy="1394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105">
              <a:extLst>
                <a:ext uri="{FF2B5EF4-FFF2-40B4-BE49-F238E27FC236}">
                  <a16:creationId xmlns:a16="http://schemas.microsoft.com/office/drawing/2014/main" id="{EFDF9C30-E4F6-467E-8425-5E28B6993E3E}"/>
                </a:ext>
              </a:extLst>
            </p:cNvPr>
            <p:cNvCxnSpPr/>
            <p:nvPr/>
          </p:nvCxnSpPr>
          <p:spPr>
            <a:xfrm>
              <a:off x="5671261" y="1589169"/>
              <a:ext cx="0" cy="1382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117">
              <a:extLst>
                <a:ext uri="{FF2B5EF4-FFF2-40B4-BE49-F238E27FC236}">
                  <a16:creationId xmlns:a16="http://schemas.microsoft.com/office/drawing/2014/main" id="{E6788FBC-550C-412F-B07E-F27B1DFC6C21}"/>
                </a:ext>
              </a:extLst>
            </p:cNvPr>
            <p:cNvCxnSpPr/>
            <p:nvPr/>
          </p:nvCxnSpPr>
          <p:spPr>
            <a:xfrm>
              <a:off x="6471577" y="1727421"/>
              <a:ext cx="0" cy="1401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Freihandform 3">
              <a:extLst>
                <a:ext uri="{FF2B5EF4-FFF2-40B4-BE49-F238E27FC236}">
                  <a16:creationId xmlns:a16="http://schemas.microsoft.com/office/drawing/2014/main" id="{071B2BD1-32DE-474E-9516-08D6EA530974}"/>
                </a:ext>
              </a:extLst>
            </p:cNvPr>
            <p:cNvSpPr/>
            <p:nvPr/>
          </p:nvSpPr>
          <p:spPr>
            <a:xfrm>
              <a:off x="3276490" y="1730707"/>
              <a:ext cx="4781033" cy="136856"/>
            </a:xfrm>
            <a:custGeom>
              <a:avLst/>
              <a:gdLst>
                <a:gd name="connsiteX0" fmla="*/ 0 w 8327798"/>
                <a:gd name="connsiteY0" fmla="*/ 449521 h 449521"/>
                <a:gd name="connsiteX1" fmla="*/ 11239 w 8327798"/>
                <a:gd name="connsiteY1" fmla="*/ 0 h 449521"/>
                <a:gd name="connsiteX2" fmla="*/ 8327798 w 8327798"/>
                <a:gd name="connsiteY2" fmla="*/ 0 h 449521"/>
                <a:gd name="connsiteX3" fmla="*/ 8327798 w 8327798"/>
                <a:gd name="connsiteY3" fmla="*/ 449521 h 449521"/>
                <a:gd name="connsiteX0" fmla="*/ 296736 w 8316559"/>
                <a:gd name="connsiteY0" fmla="*/ 303471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449521"/>
                <a:gd name="connsiteX1" fmla="*/ 0 w 8316559"/>
                <a:gd name="connsiteY1" fmla="*/ 0 h 449521"/>
                <a:gd name="connsiteX2" fmla="*/ 8316559 w 8316559"/>
                <a:gd name="connsiteY2" fmla="*/ 0 h 449521"/>
                <a:gd name="connsiteX3" fmla="*/ 8316559 w 8316559"/>
                <a:gd name="connsiteY3" fmla="*/ 449521 h 449521"/>
                <a:gd name="connsiteX0" fmla="*/ 1461 w 8316559"/>
                <a:gd name="connsiteY0" fmla="*/ 338396 h 341571"/>
                <a:gd name="connsiteX1" fmla="*/ 0 w 8316559"/>
                <a:gd name="connsiteY1" fmla="*/ 0 h 341571"/>
                <a:gd name="connsiteX2" fmla="*/ 8316559 w 8316559"/>
                <a:gd name="connsiteY2" fmla="*/ 0 h 341571"/>
                <a:gd name="connsiteX3" fmla="*/ 8316559 w 8316559"/>
                <a:gd name="connsiteY3" fmla="*/ 341571 h 341571"/>
              </a:gdLst>
              <a:ahLst/>
              <a:cxnLst>
                <a:cxn ang="0">
                  <a:pos x="connsiteX0" y="connsiteY0"/>
                </a:cxn>
                <a:cxn ang="0">
                  <a:pos x="connsiteX1" y="connsiteY1"/>
                </a:cxn>
                <a:cxn ang="0">
                  <a:pos x="connsiteX2" y="connsiteY2"/>
                </a:cxn>
                <a:cxn ang="0">
                  <a:pos x="connsiteX3" y="connsiteY3"/>
                </a:cxn>
              </a:cxnLst>
              <a:rect l="l" t="t" r="r" b="b"/>
              <a:pathLst>
                <a:path w="8316559" h="341571">
                  <a:moveTo>
                    <a:pt x="1461" y="338396"/>
                  </a:moveTo>
                  <a:lnTo>
                    <a:pt x="0" y="0"/>
                  </a:lnTo>
                  <a:lnTo>
                    <a:pt x="8316559" y="0"/>
                  </a:lnTo>
                  <a:lnTo>
                    <a:pt x="8316559" y="341571"/>
                  </a:lnTo>
                </a:path>
              </a:pathLst>
            </a:custGeom>
            <a:ln>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350"/>
            </a:p>
          </p:txBody>
        </p:sp>
        <p:sp>
          <p:nvSpPr>
            <p:cNvPr id="66" name="Rechteck 65">
              <a:extLst>
                <a:ext uri="{FF2B5EF4-FFF2-40B4-BE49-F238E27FC236}">
                  <a16:creationId xmlns:a16="http://schemas.microsoft.com/office/drawing/2014/main" id="{7E1D5E8D-862C-4CCC-A104-E32690283F9D}"/>
                </a:ext>
              </a:extLst>
            </p:cNvPr>
            <p:cNvSpPr/>
            <p:nvPr/>
          </p:nvSpPr>
          <p:spPr>
            <a:xfrm>
              <a:off x="5086336" y="574357"/>
              <a:ext cx="1147055" cy="5933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67" name="Rechteck 66">
              <a:extLst>
                <a:ext uri="{FF2B5EF4-FFF2-40B4-BE49-F238E27FC236}">
                  <a16:creationId xmlns:a16="http://schemas.microsoft.com/office/drawing/2014/main" id="{EB0003F1-E8DB-4C74-BEFB-9C5A6FD46C42}"/>
                </a:ext>
              </a:extLst>
            </p:cNvPr>
            <p:cNvSpPr/>
            <p:nvPr/>
          </p:nvSpPr>
          <p:spPr>
            <a:xfrm>
              <a:off x="2933737" y="1271700"/>
              <a:ext cx="5863952"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68" name="Rechteck 67">
              <a:extLst>
                <a:ext uri="{FF2B5EF4-FFF2-40B4-BE49-F238E27FC236}">
                  <a16:creationId xmlns:a16="http://schemas.microsoft.com/office/drawing/2014/main" id="{1B7CBBA4-19E7-43C5-97E2-BEDE869F8472}"/>
                </a:ext>
              </a:extLst>
            </p:cNvPr>
            <p:cNvSpPr/>
            <p:nvPr/>
          </p:nvSpPr>
          <p:spPr>
            <a:xfrm>
              <a:off x="6136888" y="1867562"/>
              <a:ext cx="1067809"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69" name="Rechteck 68">
              <a:extLst>
                <a:ext uri="{FF2B5EF4-FFF2-40B4-BE49-F238E27FC236}">
                  <a16:creationId xmlns:a16="http://schemas.microsoft.com/office/drawing/2014/main" id="{8629AFC9-7488-436E-B8C6-21010B6951C6}"/>
                </a:ext>
              </a:extLst>
            </p:cNvPr>
            <p:cNvSpPr/>
            <p:nvPr/>
          </p:nvSpPr>
          <p:spPr>
            <a:xfrm>
              <a:off x="7729879" y="1867562"/>
              <a:ext cx="1067810"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0" name="Rechteck 69">
              <a:extLst>
                <a:ext uri="{FF2B5EF4-FFF2-40B4-BE49-F238E27FC236}">
                  <a16:creationId xmlns:a16="http://schemas.microsoft.com/office/drawing/2014/main" id="{FEAFFE24-A240-490A-BA32-9337817487A5}"/>
                </a:ext>
              </a:extLst>
            </p:cNvPr>
            <p:cNvSpPr/>
            <p:nvPr/>
          </p:nvSpPr>
          <p:spPr>
            <a:xfrm>
              <a:off x="2930842" y="1867562"/>
              <a:ext cx="2669419"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2" name="Rechteck 71">
              <a:extLst>
                <a:ext uri="{FF2B5EF4-FFF2-40B4-BE49-F238E27FC236}">
                  <a16:creationId xmlns:a16="http://schemas.microsoft.com/office/drawing/2014/main" id="{AB98AB38-0BEB-459D-8719-11C906659EE2}"/>
                </a:ext>
              </a:extLst>
            </p:cNvPr>
            <p:cNvSpPr/>
            <p:nvPr/>
          </p:nvSpPr>
          <p:spPr>
            <a:xfrm>
              <a:off x="7364437" y="3667739"/>
              <a:ext cx="649208" cy="3040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3" name="Rechteck 72">
              <a:extLst>
                <a:ext uri="{FF2B5EF4-FFF2-40B4-BE49-F238E27FC236}">
                  <a16:creationId xmlns:a16="http://schemas.microsoft.com/office/drawing/2014/main" id="{8EDADD6F-F946-4A31-B6CE-70B48208D65B}"/>
                </a:ext>
              </a:extLst>
            </p:cNvPr>
            <p:cNvSpPr/>
            <p:nvPr/>
          </p:nvSpPr>
          <p:spPr>
            <a:xfrm>
              <a:off x="2534905" y="3663038"/>
              <a:ext cx="647168" cy="3174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4" name="Rechteck 73">
              <a:extLst>
                <a:ext uri="{FF2B5EF4-FFF2-40B4-BE49-F238E27FC236}">
                  <a16:creationId xmlns:a16="http://schemas.microsoft.com/office/drawing/2014/main" id="{C2C7DACA-46C0-4869-B06D-A6092A85EB02}"/>
                </a:ext>
              </a:extLst>
            </p:cNvPr>
            <p:cNvSpPr/>
            <p:nvPr/>
          </p:nvSpPr>
          <p:spPr>
            <a:xfrm>
              <a:off x="4950645"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5" name="Rechteck 74">
              <a:extLst>
                <a:ext uri="{FF2B5EF4-FFF2-40B4-BE49-F238E27FC236}">
                  <a16:creationId xmlns:a16="http://schemas.microsoft.com/office/drawing/2014/main" id="{1480B257-6FC8-4922-9CDE-89431674315B}"/>
                </a:ext>
              </a:extLst>
            </p:cNvPr>
            <p:cNvSpPr/>
            <p:nvPr/>
          </p:nvSpPr>
          <p:spPr>
            <a:xfrm>
              <a:off x="4142640"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6" name="Rechteck 75">
              <a:extLst>
                <a:ext uri="{FF2B5EF4-FFF2-40B4-BE49-F238E27FC236}">
                  <a16:creationId xmlns:a16="http://schemas.microsoft.com/office/drawing/2014/main" id="{63F25293-5276-4132-9AE5-32A535CCC292}"/>
                </a:ext>
              </a:extLst>
            </p:cNvPr>
            <p:cNvSpPr/>
            <p:nvPr/>
          </p:nvSpPr>
          <p:spPr>
            <a:xfrm>
              <a:off x="6557382"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7" name="Rechteck 76">
              <a:extLst>
                <a:ext uri="{FF2B5EF4-FFF2-40B4-BE49-F238E27FC236}">
                  <a16:creationId xmlns:a16="http://schemas.microsoft.com/office/drawing/2014/main" id="{A8B5CD73-7583-4A84-B4FB-ACAD7D661C4D}"/>
                </a:ext>
              </a:extLst>
            </p:cNvPr>
            <p:cNvSpPr/>
            <p:nvPr/>
          </p:nvSpPr>
          <p:spPr>
            <a:xfrm>
              <a:off x="8156097"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78" name="Rechteck 77">
              <a:extLst>
                <a:ext uri="{FF2B5EF4-FFF2-40B4-BE49-F238E27FC236}">
                  <a16:creationId xmlns:a16="http://schemas.microsoft.com/office/drawing/2014/main" id="{FF7C8F7E-97C6-4557-851A-081C7171ACFA}"/>
                </a:ext>
              </a:extLst>
            </p:cNvPr>
            <p:cNvSpPr/>
            <p:nvPr/>
          </p:nvSpPr>
          <p:spPr>
            <a:xfrm>
              <a:off x="7348092"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80" name="Textfeld 79">
              <a:extLst>
                <a:ext uri="{FF2B5EF4-FFF2-40B4-BE49-F238E27FC236}">
                  <a16:creationId xmlns:a16="http://schemas.microsoft.com/office/drawing/2014/main" id="{C64C8AE9-164C-403C-959A-A53DD7B9D513}"/>
                </a:ext>
              </a:extLst>
            </p:cNvPr>
            <p:cNvSpPr txBox="1"/>
            <p:nvPr/>
          </p:nvSpPr>
          <p:spPr bwMode="auto">
            <a:xfrm>
              <a:off x="5082694" y="591925"/>
              <a:ext cx="1147055" cy="506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a:solidFill>
                    <a:schemeClr val="bg1"/>
                  </a:solidFill>
                </a:rPr>
                <a:t>Polymer Processing Solutions</a:t>
              </a:r>
            </a:p>
          </p:txBody>
        </p:sp>
        <p:sp>
          <p:nvSpPr>
            <p:cNvPr id="82" name="Textfeld 81">
              <a:extLst>
                <a:ext uri="{FF2B5EF4-FFF2-40B4-BE49-F238E27FC236}">
                  <a16:creationId xmlns:a16="http://schemas.microsoft.com/office/drawing/2014/main" id="{C45BC6C3-6D88-4CA4-89B0-9B908CFC5BF2}"/>
                </a:ext>
              </a:extLst>
            </p:cNvPr>
            <p:cNvSpPr txBox="1"/>
            <p:nvPr/>
          </p:nvSpPr>
          <p:spPr bwMode="auto">
            <a:xfrm>
              <a:off x="3818557" y="1271700"/>
              <a:ext cx="3687794"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               </a:t>
              </a:r>
              <a:r>
                <a:rPr lang="de-DE" sz="900" b="1" dirty="0" err="1"/>
                <a:t>Continuous</a:t>
              </a:r>
              <a:r>
                <a:rPr lang="de-DE" sz="900" b="1" dirty="0"/>
                <a:t> </a:t>
              </a:r>
              <a:r>
                <a:rPr lang="de-DE" sz="900" b="1" dirty="0" err="1"/>
                <a:t>Polycondensation</a:t>
              </a:r>
              <a:r>
                <a:rPr lang="de-DE" sz="900" b="1" dirty="0"/>
                <a:t> (CP)</a:t>
              </a:r>
            </a:p>
          </p:txBody>
        </p:sp>
        <p:sp>
          <p:nvSpPr>
            <p:cNvPr id="83" name="Textfeld 82">
              <a:extLst>
                <a:ext uri="{FF2B5EF4-FFF2-40B4-BE49-F238E27FC236}">
                  <a16:creationId xmlns:a16="http://schemas.microsoft.com/office/drawing/2014/main" id="{129CBBDC-D41B-45E2-9A9B-89440D981C7E}"/>
                </a:ext>
              </a:extLst>
            </p:cNvPr>
            <p:cNvSpPr txBox="1"/>
            <p:nvPr/>
          </p:nvSpPr>
          <p:spPr bwMode="auto">
            <a:xfrm>
              <a:off x="3026882" y="1867562"/>
              <a:ext cx="2518977"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Filament </a:t>
              </a:r>
              <a:r>
                <a:rPr lang="de-DE" sz="900" b="1" dirty="0" err="1"/>
                <a:t>spinning</a:t>
              </a:r>
              <a:endParaRPr lang="de-DE" sz="900" b="1" dirty="0"/>
            </a:p>
          </p:txBody>
        </p:sp>
        <p:sp>
          <p:nvSpPr>
            <p:cNvPr id="84" name="Textfeld 83">
              <a:extLst>
                <a:ext uri="{FF2B5EF4-FFF2-40B4-BE49-F238E27FC236}">
                  <a16:creationId xmlns:a16="http://schemas.microsoft.com/office/drawing/2014/main" id="{A691AB38-752B-4D83-AC80-B4287156CC80}"/>
                </a:ext>
              </a:extLst>
            </p:cNvPr>
            <p:cNvSpPr txBox="1"/>
            <p:nvPr/>
          </p:nvSpPr>
          <p:spPr bwMode="auto">
            <a:xfrm>
              <a:off x="6236159" y="1867562"/>
              <a:ext cx="976359"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Staple </a:t>
              </a:r>
              <a:r>
                <a:rPr lang="de-DE" sz="900" b="1" dirty="0" err="1"/>
                <a:t>fiber</a:t>
              </a:r>
              <a:endParaRPr lang="de-DE" sz="900" b="1" dirty="0"/>
            </a:p>
            <a:p>
              <a:r>
                <a:rPr lang="de-DE" sz="900" b="1" dirty="0" err="1"/>
                <a:t>spinning</a:t>
              </a:r>
              <a:endParaRPr lang="de-DE" sz="900" b="1" dirty="0"/>
            </a:p>
          </p:txBody>
        </p:sp>
        <p:sp>
          <p:nvSpPr>
            <p:cNvPr id="85" name="Textfeld 84">
              <a:extLst>
                <a:ext uri="{FF2B5EF4-FFF2-40B4-BE49-F238E27FC236}">
                  <a16:creationId xmlns:a16="http://schemas.microsoft.com/office/drawing/2014/main" id="{4C0073BF-BC76-481F-848D-979DC4044953}"/>
                </a:ext>
              </a:extLst>
            </p:cNvPr>
            <p:cNvSpPr txBox="1"/>
            <p:nvPr/>
          </p:nvSpPr>
          <p:spPr bwMode="auto">
            <a:xfrm>
              <a:off x="7808741" y="1867562"/>
              <a:ext cx="976359"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Nonwovens</a:t>
              </a:r>
            </a:p>
          </p:txBody>
        </p:sp>
        <p:sp>
          <p:nvSpPr>
            <p:cNvPr id="86" name="Textfeld 85">
              <a:extLst>
                <a:ext uri="{FF2B5EF4-FFF2-40B4-BE49-F238E27FC236}">
                  <a16:creationId xmlns:a16="http://schemas.microsoft.com/office/drawing/2014/main" id="{5919B27D-475C-43B1-9E9A-C233776E567D}"/>
                </a:ext>
              </a:extLst>
            </p:cNvPr>
            <p:cNvSpPr txBox="1"/>
            <p:nvPr/>
          </p:nvSpPr>
          <p:spPr bwMode="auto">
            <a:xfrm>
              <a:off x="4145971"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a:t>Technical Yarn (IDY)</a:t>
              </a:r>
            </a:p>
          </p:txBody>
        </p:sp>
        <p:sp>
          <p:nvSpPr>
            <p:cNvPr id="87" name="Textfeld 86">
              <a:extLst>
                <a:ext uri="{FF2B5EF4-FFF2-40B4-BE49-F238E27FC236}">
                  <a16:creationId xmlns:a16="http://schemas.microsoft.com/office/drawing/2014/main" id="{5596D619-D78E-4357-A090-8433A40BCA79}"/>
                </a:ext>
              </a:extLst>
            </p:cNvPr>
            <p:cNvSpPr txBox="1"/>
            <p:nvPr/>
          </p:nvSpPr>
          <p:spPr bwMode="auto">
            <a:xfrm>
              <a:off x="4953976"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a:t>BCF</a:t>
              </a:r>
            </a:p>
          </p:txBody>
        </p:sp>
        <p:sp>
          <p:nvSpPr>
            <p:cNvPr id="88" name="Textfeld 87">
              <a:extLst>
                <a:ext uri="{FF2B5EF4-FFF2-40B4-BE49-F238E27FC236}">
                  <a16:creationId xmlns:a16="http://schemas.microsoft.com/office/drawing/2014/main" id="{2A5F08A1-D58B-4D56-8958-EBFD99401E4D}"/>
                </a:ext>
              </a:extLst>
            </p:cNvPr>
            <p:cNvSpPr txBox="1"/>
            <p:nvPr/>
          </p:nvSpPr>
          <p:spPr bwMode="auto">
            <a:xfrm>
              <a:off x="5737681" y="2783831"/>
              <a:ext cx="635300" cy="318464"/>
            </a:xfrm>
            <a:prstGeom prst="rect">
              <a:avLst/>
            </a:prstGeom>
            <a:solidFill>
              <a:schemeClr val="accent2"/>
            </a:solidFill>
            <a:ln>
              <a:noFill/>
            </a:ln>
            <a:effectLst/>
          </p:spPr>
          <p:txBody>
            <a:bodyPr vert="horz" wrap="square" lIns="0" tIns="0" rIns="0" bIns="0" numCol="1" rtlCol="0" anchor="ctr" anchorCtr="0" compatLnSpc="1">
              <a:prstTxWarp prst="textNoShape">
                <a:avLst/>
              </a:prstTxWarp>
              <a:noAutofit/>
            </a:bodyPr>
            <a:lstStyle/>
            <a:p>
              <a:pPr algn="ctr"/>
              <a:r>
                <a:rPr lang="de-DE" sz="825" b="1" spc="-75" dirty="0" err="1"/>
                <a:t>Others</a:t>
              </a:r>
              <a:endParaRPr lang="de-DE" sz="825" b="1" spc="-75" dirty="0"/>
            </a:p>
          </p:txBody>
        </p:sp>
        <p:sp>
          <p:nvSpPr>
            <p:cNvPr id="89" name="Textfeld 88">
              <a:extLst>
                <a:ext uri="{FF2B5EF4-FFF2-40B4-BE49-F238E27FC236}">
                  <a16:creationId xmlns:a16="http://schemas.microsoft.com/office/drawing/2014/main" id="{4D67E521-8E9B-4794-9246-6C8580D70D2E}"/>
                </a:ext>
              </a:extLst>
            </p:cNvPr>
            <p:cNvSpPr txBox="1"/>
            <p:nvPr/>
          </p:nvSpPr>
          <p:spPr bwMode="auto">
            <a:xfrm>
              <a:off x="6556633"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err="1"/>
                <a:t>Airlaid</a:t>
              </a:r>
              <a:endParaRPr lang="de-DE" sz="900" b="1" dirty="0"/>
            </a:p>
          </p:txBody>
        </p:sp>
        <p:sp>
          <p:nvSpPr>
            <p:cNvPr id="90" name="Textfeld 89">
              <a:extLst>
                <a:ext uri="{FF2B5EF4-FFF2-40B4-BE49-F238E27FC236}">
                  <a16:creationId xmlns:a16="http://schemas.microsoft.com/office/drawing/2014/main" id="{6D723028-5C08-434C-BA58-015C157E694C}"/>
                </a:ext>
              </a:extLst>
            </p:cNvPr>
            <p:cNvSpPr txBox="1"/>
            <p:nvPr/>
          </p:nvSpPr>
          <p:spPr bwMode="auto">
            <a:xfrm>
              <a:off x="7349944"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err="1"/>
                <a:t>Meltblown</a:t>
              </a:r>
              <a:endParaRPr lang="de-DE" sz="900" b="1" dirty="0"/>
            </a:p>
          </p:txBody>
        </p:sp>
        <p:sp>
          <p:nvSpPr>
            <p:cNvPr id="91" name="Textfeld 90">
              <a:extLst>
                <a:ext uri="{FF2B5EF4-FFF2-40B4-BE49-F238E27FC236}">
                  <a16:creationId xmlns:a16="http://schemas.microsoft.com/office/drawing/2014/main" id="{71FEEEC4-1BD4-488B-B051-BD9E16C8A08F}"/>
                </a:ext>
              </a:extLst>
            </p:cNvPr>
            <p:cNvSpPr txBox="1"/>
            <p:nvPr/>
          </p:nvSpPr>
          <p:spPr bwMode="auto">
            <a:xfrm>
              <a:off x="8157949"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err="1"/>
                <a:t>Spunbond</a:t>
              </a:r>
              <a:endParaRPr lang="de-DE" sz="900" b="1" dirty="0"/>
            </a:p>
          </p:txBody>
        </p:sp>
        <p:sp>
          <p:nvSpPr>
            <p:cNvPr id="92" name="Textfeld 91">
              <a:extLst>
                <a:ext uri="{FF2B5EF4-FFF2-40B4-BE49-F238E27FC236}">
                  <a16:creationId xmlns:a16="http://schemas.microsoft.com/office/drawing/2014/main" id="{0CDB9440-70F7-44D4-97E7-92C8C5A74252}"/>
                </a:ext>
              </a:extLst>
            </p:cNvPr>
            <p:cNvSpPr txBox="1"/>
            <p:nvPr/>
          </p:nvSpPr>
          <p:spPr bwMode="auto">
            <a:xfrm>
              <a:off x="2688068" y="3682546"/>
              <a:ext cx="395186"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r>
                <a:rPr lang="de-DE" sz="900" b="1" dirty="0"/>
                <a:t> DTY</a:t>
              </a:r>
            </a:p>
          </p:txBody>
        </p:sp>
        <p:sp>
          <p:nvSpPr>
            <p:cNvPr id="93" name="Textfeld 92">
              <a:extLst>
                <a:ext uri="{FF2B5EF4-FFF2-40B4-BE49-F238E27FC236}">
                  <a16:creationId xmlns:a16="http://schemas.microsoft.com/office/drawing/2014/main" id="{46A14933-D705-4F8A-9389-03F890A44164}"/>
                </a:ext>
              </a:extLst>
            </p:cNvPr>
            <p:cNvSpPr txBox="1"/>
            <p:nvPr/>
          </p:nvSpPr>
          <p:spPr bwMode="auto">
            <a:xfrm>
              <a:off x="6570666" y="3663038"/>
              <a:ext cx="649134" cy="317469"/>
            </a:xfrm>
            <a:prstGeom prst="rect">
              <a:avLst/>
            </a:prstGeom>
            <a:solidFill>
              <a:schemeClr val="accent2"/>
            </a:solidFill>
            <a:ln>
              <a:noFill/>
            </a:ln>
            <a:effectLst/>
          </p:spPr>
          <p:txBody>
            <a:bodyPr vert="horz" wrap="square" lIns="0" tIns="0" rIns="0" bIns="0" numCol="1" rtlCol="0" anchor="ctr" anchorCtr="0" compatLnSpc="1">
              <a:prstTxWarp prst="textNoShape">
                <a:avLst/>
              </a:prstTxWarp>
              <a:noAutofit/>
            </a:bodyPr>
            <a:lstStyle/>
            <a:p>
              <a:pPr algn="ctr"/>
              <a:r>
                <a:rPr lang="de-DE" sz="750" b="1" dirty="0"/>
                <a:t>Special </a:t>
              </a:r>
              <a:r>
                <a:rPr lang="de-DE" sz="750" b="1" dirty="0" err="1"/>
                <a:t>Winders</a:t>
              </a:r>
              <a:endParaRPr lang="de-DE" sz="788" b="1" dirty="0"/>
            </a:p>
          </p:txBody>
        </p:sp>
        <p:sp>
          <p:nvSpPr>
            <p:cNvPr id="94" name="Textfeld 93">
              <a:extLst>
                <a:ext uri="{FF2B5EF4-FFF2-40B4-BE49-F238E27FC236}">
                  <a16:creationId xmlns:a16="http://schemas.microsoft.com/office/drawing/2014/main" id="{C2BD1AF7-EFCA-46D1-A785-026E791E0049}"/>
                </a:ext>
              </a:extLst>
            </p:cNvPr>
            <p:cNvSpPr txBox="1"/>
            <p:nvPr/>
          </p:nvSpPr>
          <p:spPr bwMode="auto">
            <a:xfrm>
              <a:off x="7362671" y="3655956"/>
              <a:ext cx="639506"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675" b="1" dirty="0"/>
                <a:t>Gear </a:t>
              </a:r>
              <a:r>
                <a:rPr lang="de-DE" sz="675" b="1" dirty="0" err="1"/>
                <a:t>Metering</a:t>
              </a:r>
              <a:r>
                <a:rPr lang="de-DE" sz="675" b="1" dirty="0"/>
                <a:t> Pumps </a:t>
              </a:r>
            </a:p>
          </p:txBody>
        </p:sp>
        <p:sp>
          <p:nvSpPr>
            <p:cNvPr id="95" name="Textfeld 94">
              <a:extLst>
                <a:ext uri="{FF2B5EF4-FFF2-40B4-BE49-F238E27FC236}">
                  <a16:creationId xmlns:a16="http://schemas.microsoft.com/office/drawing/2014/main" id="{D10AF2F0-786C-4AE3-8A3C-079E3C972502}"/>
                </a:ext>
              </a:extLst>
            </p:cNvPr>
            <p:cNvSpPr txBox="1"/>
            <p:nvPr/>
          </p:nvSpPr>
          <p:spPr bwMode="auto">
            <a:xfrm>
              <a:off x="8152599" y="3667813"/>
              <a:ext cx="648121" cy="293756"/>
            </a:xfrm>
            <a:prstGeom prst="rect">
              <a:avLst/>
            </a:prstGeom>
            <a:solidFill>
              <a:schemeClr val="accent2"/>
            </a:solidFill>
            <a:ln>
              <a:noFill/>
            </a:ln>
            <a:effectLst/>
          </p:spPr>
          <p:txBody>
            <a:bodyPr vert="horz" wrap="square" lIns="0" tIns="0" rIns="0" bIns="0" numCol="1" rtlCol="0" anchor="ctr" anchorCtr="0" compatLnSpc="1">
              <a:prstTxWarp prst="textNoShape">
                <a:avLst/>
              </a:prstTxWarp>
              <a:noAutofit/>
            </a:bodyPr>
            <a:lstStyle/>
            <a:p>
              <a:pPr algn="ctr"/>
              <a:r>
                <a:rPr lang="de-DE" sz="600" b="1" dirty="0"/>
                <a:t>BBE</a:t>
              </a:r>
            </a:p>
          </p:txBody>
        </p:sp>
        <p:sp>
          <p:nvSpPr>
            <p:cNvPr id="96" name="Rechteck 95">
              <a:extLst>
                <a:ext uri="{FF2B5EF4-FFF2-40B4-BE49-F238E27FC236}">
                  <a16:creationId xmlns:a16="http://schemas.microsoft.com/office/drawing/2014/main" id="{19167F13-42C2-4BB2-8E90-42BD9E7C8CFB}"/>
                </a:ext>
              </a:extLst>
            </p:cNvPr>
            <p:cNvSpPr/>
            <p:nvPr/>
          </p:nvSpPr>
          <p:spPr>
            <a:xfrm>
              <a:off x="2538531" y="1274081"/>
              <a:ext cx="395206" cy="310500"/>
            </a:xfrm>
            <a:prstGeom prst="rect">
              <a:avLst/>
            </a:prstGeom>
            <a:noFill/>
            <a:ln w="9525" cmpd="sng">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97" name="Rechteck 96">
              <a:extLst>
                <a:ext uri="{FF2B5EF4-FFF2-40B4-BE49-F238E27FC236}">
                  <a16:creationId xmlns:a16="http://schemas.microsoft.com/office/drawing/2014/main" id="{933B1746-5DD6-47FA-8747-57B63EA6408B}"/>
                </a:ext>
              </a:extLst>
            </p:cNvPr>
            <p:cNvSpPr/>
            <p:nvPr/>
          </p:nvSpPr>
          <p:spPr>
            <a:xfrm>
              <a:off x="2538531" y="1871222"/>
              <a:ext cx="395206"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98" name="Rechteck 97">
              <a:extLst>
                <a:ext uri="{FF2B5EF4-FFF2-40B4-BE49-F238E27FC236}">
                  <a16:creationId xmlns:a16="http://schemas.microsoft.com/office/drawing/2014/main" id="{E691F392-5D53-4156-9ECE-A1570AA3835A}"/>
                </a:ext>
              </a:extLst>
            </p:cNvPr>
            <p:cNvSpPr/>
            <p:nvPr/>
          </p:nvSpPr>
          <p:spPr>
            <a:xfrm>
              <a:off x="5744577" y="1871222"/>
              <a:ext cx="395206"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99" name="Rechteck 98">
              <a:extLst>
                <a:ext uri="{FF2B5EF4-FFF2-40B4-BE49-F238E27FC236}">
                  <a16:creationId xmlns:a16="http://schemas.microsoft.com/office/drawing/2014/main" id="{B4D4D4A6-E8F3-4CFA-B28C-9738C8E9ADFA}"/>
                </a:ext>
              </a:extLst>
            </p:cNvPr>
            <p:cNvSpPr/>
            <p:nvPr/>
          </p:nvSpPr>
          <p:spPr>
            <a:xfrm>
              <a:off x="7337568" y="1871222"/>
              <a:ext cx="395206"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pic>
          <p:nvPicPr>
            <p:cNvPr id="100" name="Bild 23" descr="POY.jpg">
              <a:extLst>
                <a:ext uri="{FF2B5EF4-FFF2-40B4-BE49-F238E27FC236}">
                  <a16:creationId xmlns:a16="http://schemas.microsoft.com/office/drawing/2014/main" id="{71AED532-6D65-4CCE-8AC2-D82FA58E73A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17732" y="2488270"/>
              <a:ext cx="539496" cy="269748"/>
            </a:xfrm>
            <a:prstGeom prst="rect">
              <a:avLst/>
            </a:prstGeom>
          </p:spPr>
        </p:pic>
        <p:sp>
          <p:nvSpPr>
            <p:cNvPr id="101" name="Rechteck 100">
              <a:extLst>
                <a:ext uri="{FF2B5EF4-FFF2-40B4-BE49-F238E27FC236}">
                  <a16:creationId xmlns:a16="http://schemas.microsoft.com/office/drawing/2014/main" id="{6455A9F2-87C1-40F2-96F1-8859A5D35F4A}"/>
                </a:ext>
              </a:extLst>
            </p:cNvPr>
            <p:cNvSpPr/>
            <p:nvPr/>
          </p:nvSpPr>
          <p:spPr>
            <a:xfrm>
              <a:off x="2535420"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02" name="Textfeld 101">
              <a:extLst>
                <a:ext uri="{FF2B5EF4-FFF2-40B4-BE49-F238E27FC236}">
                  <a16:creationId xmlns:a16="http://schemas.microsoft.com/office/drawing/2014/main" id="{1AB36925-30BE-4A26-BD92-9DC1F5E13319}"/>
                </a:ext>
              </a:extLst>
            </p:cNvPr>
            <p:cNvSpPr txBox="1"/>
            <p:nvPr/>
          </p:nvSpPr>
          <p:spPr bwMode="auto">
            <a:xfrm>
              <a:off x="2535420"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a:t>POY</a:t>
              </a:r>
            </a:p>
          </p:txBody>
        </p:sp>
        <p:sp>
          <p:nvSpPr>
            <p:cNvPr id="103" name="Rechteck 102">
              <a:extLst>
                <a:ext uri="{FF2B5EF4-FFF2-40B4-BE49-F238E27FC236}">
                  <a16:creationId xmlns:a16="http://schemas.microsoft.com/office/drawing/2014/main" id="{F6865950-5E2F-4F46-B88C-8982323AD405}"/>
                </a:ext>
              </a:extLst>
            </p:cNvPr>
            <p:cNvSpPr/>
            <p:nvPr/>
          </p:nvSpPr>
          <p:spPr>
            <a:xfrm>
              <a:off x="2538689"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pic>
          <p:nvPicPr>
            <p:cNvPr id="104" name="Bild 24" descr="FDY.jpg">
              <a:extLst>
                <a:ext uri="{FF2B5EF4-FFF2-40B4-BE49-F238E27FC236}">
                  <a16:creationId xmlns:a16="http://schemas.microsoft.com/office/drawing/2014/main" id="{03CF1A8F-FDF8-4A89-ADAC-570157C9C05B}"/>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01702" y="2488270"/>
              <a:ext cx="539496" cy="269748"/>
            </a:xfrm>
            <a:prstGeom prst="rect">
              <a:avLst/>
            </a:prstGeom>
          </p:spPr>
        </p:pic>
        <p:sp>
          <p:nvSpPr>
            <p:cNvPr id="105" name="Rechteck 104">
              <a:extLst>
                <a:ext uri="{FF2B5EF4-FFF2-40B4-BE49-F238E27FC236}">
                  <a16:creationId xmlns:a16="http://schemas.microsoft.com/office/drawing/2014/main" id="{57418A03-6E10-479B-A8D3-B72FBE3952AB}"/>
                </a:ext>
              </a:extLst>
            </p:cNvPr>
            <p:cNvSpPr/>
            <p:nvPr/>
          </p:nvSpPr>
          <p:spPr>
            <a:xfrm>
              <a:off x="3343425" y="2778407"/>
              <a:ext cx="649616" cy="3174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06" name="Textfeld 105">
              <a:extLst>
                <a:ext uri="{FF2B5EF4-FFF2-40B4-BE49-F238E27FC236}">
                  <a16:creationId xmlns:a16="http://schemas.microsoft.com/office/drawing/2014/main" id="{893847AC-944F-4A7B-9488-BE6D38DED322}"/>
                </a:ext>
              </a:extLst>
            </p:cNvPr>
            <p:cNvSpPr txBox="1"/>
            <p:nvPr/>
          </p:nvSpPr>
          <p:spPr bwMode="auto">
            <a:xfrm>
              <a:off x="3343425" y="2778407"/>
              <a:ext cx="649616" cy="317469"/>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900" b="1" dirty="0"/>
                <a:t>FDY</a:t>
              </a:r>
            </a:p>
          </p:txBody>
        </p:sp>
        <p:sp>
          <p:nvSpPr>
            <p:cNvPr id="107" name="Rechteck 106">
              <a:extLst>
                <a:ext uri="{FF2B5EF4-FFF2-40B4-BE49-F238E27FC236}">
                  <a16:creationId xmlns:a16="http://schemas.microsoft.com/office/drawing/2014/main" id="{361635F2-F9EE-4072-848A-6973CA8D8D5E}"/>
                </a:ext>
              </a:extLst>
            </p:cNvPr>
            <p:cNvSpPr/>
            <p:nvPr/>
          </p:nvSpPr>
          <p:spPr>
            <a:xfrm>
              <a:off x="3346933"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08" name="Rechteck 107">
              <a:extLst>
                <a:ext uri="{FF2B5EF4-FFF2-40B4-BE49-F238E27FC236}">
                  <a16:creationId xmlns:a16="http://schemas.microsoft.com/office/drawing/2014/main" id="{BDD9E4B1-7A7A-4EC0-B07F-3F8A8AF05D11}"/>
                </a:ext>
              </a:extLst>
            </p:cNvPr>
            <p:cNvSpPr/>
            <p:nvPr/>
          </p:nvSpPr>
          <p:spPr>
            <a:xfrm>
              <a:off x="4146182"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09" name="Rechteck 108">
              <a:extLst>
                <a:ext uri="{FF2B5EF4-FFF2-40B4-BE49-F238E27FC236}">
                  <a16:creationId xmlns:a16="http://schemas.microsoft.com/office/drawing/2014/main" id="{1783B56D-B82F-47B8-9610-10EAD1E92074}"/>
                </a:ext>
              </a:extLst>
            </p:cNvPr>
            <p:cNvSpPr/>
            <p:nvPr/>
          </p:nvSpPr>
          <p:spPr>
            <a:xfrm>
              <a:off x="4953944"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0" name="Rechteck 109">
              <a:extLst>
                <a:ext uri="{FF2B5EF4-FFF2-40B4-BE49-F238E27FC236}">
                  <a16:creationId xmlns:a16="http://schemas.microsoft.com/office/drawing/2014/main" id="{5D455298-406F-46EF-9479-2E5A66499DF8}"/>
                </a:ext>
              </a:extLst>
            </p:cNvPr>
            <p:cNvSpPr/>
            <p:nvPr/>
          </p:nvSpPr>
          <p:spPr>
            <a:xfrm>
              <a:off x="6561326"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1" name="Rechteck 110">
              <a:extLst>
                <a:ext uri="{FF2B5EF4-FFF2-40B4-BE49-F238E27FC236}">
                  <a16:creationId xmlns:a16="http://schemas.microsoft.com/office/drawing/2014/main" id="{CE8E1FE9-8CF0-42F1-BE5D-D76BAC7BB722}"/>
                </a:ext>
              </a:extLst>
            </p:cNvPr>
            <p:cNvSpPr/>
            <p:nvPr/>
          </p:nvSpPr>
          <p:spPr>
            <a:xfrm>
              <a:off x="7352070"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2" name="Rechteck 111">
              <a:extLst>
                <a:ext uri="{FF2B5EF4-FFF2-40B4-BE49-F238E27FC236}">
                  <a16:creationId xmlns:a16="http://schemas.microsoft.com/office/drawing/2014/main" id="{8C16F4CC-8D71-48AF-BF0C-21F659548295}"/>
                </a:ext>
              </a:extLst>
            </p:cNvPr>
            <p:cNvSpPr/>
            <p:nvPr/>
          </p:nvSpPr>
          <p:spPr>
            <a:xfrm>
              <a:off x="8159832" y="2466568"/>
              <a:ext cx="642600" cy="310500"/>
            </a:xfrm>
            <a:prstGeom prst="rect">
              <a:avLst/>
            </a:prstGeom>
            <a:noFill/>
            <a:ln w="9525"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3" name="Rechteck 112">
              <a:hlinkClick r:id="" action="ppaction://noaction"/>
              <a:extLst>
                <a:ext uri="{FF2B5EF4-FFF2-40B4-BE49-F238E27FC236}">
                  <a16:creationId xmlns:a16="http://schemas.microsoft.com/office/drawing/2014/main" id="{F86EC296-C8F2-4BEC-9BDD-046AE2E9AF8D}"/>
                </a:ext>
              </a:extLst>
            </p:cNvPr>
            <p:cNvSpPr/>
            <p:nvPr/>
          </p:nvSpPr>
          <p:spPr>
            <a:xfrm>
              <a:off x="4138165" y="2445047"/>
              <a:ext cx="657194" cy="677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5" name="Rechteck 114">
              <a:hlinkClick r:id="" action="ppaction://noaction"/>
              <a:extLst>
                <a:ext uri="{FF2B5EF4-FFF2-40B4-BE49-F238E27FC236}">
                  <a16:creationId xmlns:a16="http://schemas.microsoft.com/office/drawing/2014/main" id="{E692D5DB-A3F7-471D-A9D3-F168D7CA8220}"/>
                </a:ext>
              </a:extLst>
            </p:cNvPr>
            <p:cNvSpPr/>
            <p:nvPr/>
          </p:nvSpPr>
          <p:spPr>
            <a:xfrm>
              <a:off x="4906945" y="413185"/>
              <a:ext cx="1242383" cy="3107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16" name="Rechteck 115">
              <a:hlinkClick r:id="" action="ppaction://noaction"/>
              <a:extLst>
                <a:ext uri="{FF2B5EF4-FFF2-40B4-BE49-F238E27FC236}">
                  <a16:creationId xmlns:a16="http://schemas.microsoft.com/office/drawing/2014/main" id="{80CB773F-6DE2-498F-A3A0-50793FA023F8}"/>
                </a:ext>
              </a:extLst>
            </p:cNvPr>
            <p:cNvSpPr/>
            <p:nvPr/>
          </p:nvSpPr>
          <p:spPr>
            <a:xfrm>
              <a:off x="2559101" y="1277847"/>
              <a:ext cx="4956802" cy="312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17" name="Rechteck 116">
              <a:hlinkClick r:id="" action="ppaction://noaction"/>
              <a:extLst>
                <a:ext uri="{FF2B5EF4-FFF2-40B4-BE49-F238E27FC236}">
                  <a16:creationId xmlns:a16="http://schemas.microsoft.com/office/drawing/2014/main" id="{D5F33513-71B7-4456-BE8E-775B8DA6ED0E}"/>
                </a:ext>
              </a:extLst>
            </p:cNvPr>
            <p:cNvSpPr/>
            <p:nvPr/>
          </p:nvSpPr>
          <p:spPr>
            <a:xfrm>
              <a:off x="5737220" y="1867562"/>
              <a:ext cx="1466100" cy="3262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8" name="Rechteck 117">
              <a:hlinkClick r:id="" action="ppaction://noaction"/>
              <a:extLst>
                <a:ext uri="{FF2B5EF4-FFF2-40B4-BE49-F238E27FC236}">
                  <a16:creationId xmlns:a16="http://schemas.microsoft.com/office/drawing/2014/main" id="{5DB163B3-78B6-4EFE-B946-FB10E867E561}"/>
                </a:ext>
              </a:extLst>
            </p:cNvPr>
            <p:cNvSpPr/>
            <p:nvPr/>
          </p:nvSpPr>
          <p:spPr>
            <a:xfrm>
              <a:off x="3331720" y="2465249"/>
              <a:ext cx="663725" cy="634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19" name="Rechteck 118">
              <a:hlinkClick r:id="" action="ppaction://noaction"/>
              <a:extLst>
                <a:ext uri="{FF2B5EF4-FFF2-40B4-BE49-F238E27FC236}">
                  <a16:creationId xmlns:a16="http://schemas.microsoft.com/office/drawing/2014/main" id="{8A05194D-E852-4718-9761-F91F08A1CEE8}"/>
                </a:ext>
              </a:extLst>
            </p:cNvPr>
            <p:cNvSpPr/>
            <p:nvPr/>
          </p:nvSpPr>
          <p:spPr>
            <a:xfrm>
              <a:off x="4961371" y="2458963"/>
              <a:ext cx="642189" cy="634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20" name="Rechteck 119">
              <a:hlinkClick r:id="" action="ppaction://noaction"/>
              <a:extLst>
                <a:ext uri="{FF2B5EF4-FFF2-40B4-BE49-F238E27FC236}">
                  <a16:creationId xmlns:a16="http://schemas.microsoft.com/office/drawing/2014/main" id="{D2C19B3E-BFDB-4BE4-9797-8D5805E600D1}"/>
                </a:ext>
              </a:extLst>
            </p:cNvPr>
            <p:cNvSpPr/>
            <p:nvPr/>
          </p:nvSpPr>
          <p:spPr>
            <a:xfrm>
              <a:off x="6554987" y="2469159"/>
              <a:ext cx="668472" cy="634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21" name="Rechteck 120">
              <a:hlinkClick r:id="" action="ppaction://noaction"/>
              <a:extLst>
                <a:ext uri="{FF2B5EF4-FFF2-40B4-BE49-F238E27FC236}">
                  <a16:creationId xmlns:a16="http://schemas.microsoft.com/office/drawing/2014/main" id="{7A0CCECA-75DD-4F93-80B1-814B872CB76F}"/>
                </a:ext>
              </a:extLst>
            </p:cNvPr>
            <p:cNvSpPr/>
            <p:nvPr/>
          </p:nvSpPr>
          <p:spPr>
            <a:xfrm>
              <a:off x="7354466" y="2471556"/>
              <a:ext cx="661992" cy="634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22" name="Rechteck 121">
              <a:hlinkClick r:id="" action="ppaction://noaction"/>
              <a:extLst>
                <a:ext uri="{FF2B5EF4-FFF2-40B4-BE49-F238E27FC236}">
                  <a16:creationId xmlns:a16="http://schemas.microsoft.com/office/drawing/2014/main" id="{AAF5BA7D-5B4F-4D33-9F26-4CD0C0810D58}"/>
                </a:ext>
              </a:extLst>
            </p:cNvPr>
            <p:cNvSpPr/>
            <p:nvPr/>
          </p:nvSpPr>
          <p:spPr>
            <a:xfrm>
              <a:off x="8162870" y="2465987"/>
              <a:ext cx="647733" cy="631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pic>
          <p:nvPicPr>
            <p:cNvPr id="123" name="Grafik 122">
              <a:extLst>
                <a:ext uri="{FF2B5EF4-FFF2-40B4-BE49-F238E27FC236}">
                  <a16:creationId xmlns:a16="http://schemas.microsoft.com/office/drawing/2014/main" id="{6B2D568A-8DC7-4A46-A176-C1CBFF142B7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33504" y="3389879"/>
              <a:ext cx="319894" cy="243119"/>
            </a:xfrm>
            <a:prstGeom prst="rect">
              <a:avLst/>
            </a:prstGeom>
          </p:spPr>
        </p:pic>
        <p:pic>
          <p:nvPicPr>
            <p:cNvPr id="124" name="Grafik 123">
              <a:extLst>
                <a:ext uri="{FF2B5EF4-FFF2-40B4-BE49-F238E27FC236}">
                  <a16:creationId xmlns:a16="http://schemas.microsoft.com/office/drawing/2014/main" id="{C9E08CC9-1CEC-4423-838F-7A562BE1F631}"/>
                </a:ext>
              </a:extLst>
            </p:cNvPr>
            <p:cNvPicPr>
              <a:picLocks noChangeAspect="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706126" y="3398526"/>
              <a:ext cx="371242" cy="246611"/>
            </a:xfrm>
            <a:prstGeom prst="rect">
              <a:avLst/>
            </a:prstGeom>
          </p:spPr>
        </p:pic>
        <p:pic>
          <p:nvPicPr>
            <p:cNvPr id="125" name="Inhaltsplatzhalter 16">
              <a:extLst>
                <a:ext uri="{FF2B5EF4-FFF2-40B4-BE49-F238E27FC236}">
                  <a16:creationId xmlns:a16="http://schemas.microsoft.com/office/drawing/2014/main" id="{B8A37CFF-7786-4FE9-9E4A-25E5DCEA5CC7}"/>
                </a:ext>
              </a:extLst>
            </p:cNvPr>
            <p:cNvPicPr>
              <a:picLocks noChangeAspect="1"/>
            </p:cNvPicPr>
            <p:nvPr/>
          </p:nvPicPr>
          <p:blipFill rotWithShape="1">
            <a:blip r:embed="rId18" cstate="print">
              <a:graysc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l="11787" r="21165"/>
            <a:stretch/>
          </p:blipFill>
          <p:spPr>
            <a:xfrm>
              <a:off x="8272613" y="3370710"/>
              <a:ext cx="385735" cy="310036"/>
            </a:xfrm>
            <a:prstGeom prst="rect">
              <a:avLst/>
            </a:prstGeom>
          </p:spPr>
        </p:pic>
        <p:sp>
          <p:nvSpPr>
            <p:cNvPr id="126" name="Rechteck 125">
              <a:extLst>
                <a:ext uri="{FF2B5EF4-FFF2-40B4-BE49-F238E27FC236}">
                  <a16:creationId xmlns:a16="http://schemas.microsoft.com/office/drawing/2014/main" id="{95E1368A-1C00-4768-ACBE-3A299FBD9BB7}"/>
                </a:ext>
              </a:extLst>
            </p:cNvPr>
            <p:cNvSpPr/>
            <p:nvPr/>
          </p:nvSpPr>
          <p:spPr>
            <a:xfrm>
              <a:off x="8154161" y="3359050"/>
              <a:ext cx="648291"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cxnSp>
          <p:nvCxnSpPr>
            <p:cNvPr id="127" name="Gewinkelte Verbindung 66">
              <a:extLst>
                <a:ext uri="{FF2B5EF4-FFF2-40B4-BE49-F238E27FC236}">
                  <a16:creationId xmlns:a16="http://schemas.microsoft.com/office/drawing/2014/main" id="{53289A6A-F34A-436A-A4BE-F8D3F8DE580F}"/>
                </a:ext>
              </a:extLst>
            </p:cNvPr>
            <p:cNvCxnSpPr>
              <a:stCxn id="88" idx="2"/>
              <a:endCxn id="125" idx="0"/>
            </p:cNvCxnSpPr>
            <p:nvPr/>
          </p:nvCxnSpPr>
          <p:spPr>
            <a:xfrm rot="16200000" flipH="1">
              <a:off x="7126199" y="2031428"/>
              <a:ext cx="268415" cy="241014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8" name="Rechteck 127">
              <a:extLst>
                <a:ext uri="{FF2B5EF4-FFF2-40B4-BE49-F238E27FC236}">
                  <a16:creationId xmlns:a16="http://schemas.microsoft.com/office/drawing/2014/main" id="{2A81155F-7200-4FD0-AE58-5B50B7C101FE}"/>
                </a:ext>
              </a:extLst>
            </p:cNvPr>
            <p:cNvSpPr/>
            <p:nvPr/>
          </p:nvSpPr>
          <p:spPr>
            <a:xfrm>
              <a:off x="6567602" y="3359050"/>
              <a:ext cx="648291"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29" name="Rechteck 128">
              <a:extLst>
                <a:ext uri="{FF2B5EF4-FFF2-40B4-BE49-F238E27FC236}">
                  <a16:creationId xmlns:a16="http://schemas.microsoft.com/office/drawing/2014/main" id="{C2B8E428-5557-479A-A6FC-0B1DDBA634AE}"/>
                </a:ext>
              </a:extLst>
            </p:cNvPr>
            <p:cNvSpPr/>
            <p:nvPr/>
          </p:nvSpPr>
          <p:spPr>
            <a:xfrm>
              <a:off x="7364438" y="3359050"/>
              <a:ext cx="648291"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0" name="Rechteck 129">
              <a:extLst>
                <a:ext uri="{FF2B5EF4-FFF2-40B4-BE49-F238E27FC236}">
                  <a16:creationId xmlns:a16="http://schemas.microsoft.com/office/drawing/2014/main" id="{44E1907E-EAF3-4D5F-8EC5-B489B92A726D}"/>
                </a:ext>
              </a:extLst>
            </p:cNvPr>
            <p:cNvSpPr/>
            <p:nvPr/>
          </p:nvSpPr>
          <p:spPr>
            <a:xfrm>
              <a:off x="5497841" y="3367705"/>
              <a:ext cx="639446" cy="30869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1" name="Rechteck 130">
              <a:extLst>
                <a:ext uri="{FF2B5EF4-FFF2-40B4-BE49-F238E27FC236}">
                  <a16:creationId xmlns:a16="http://schemas.microsoft.com/office/drawing/2014/main" id="{CBFD8CE2-8DFF-44CD-AB44-030530D9D0E2}"/>
                </a:ext>
              </a:extLst>
            </p:cNvPr>
            <p:cNvSpPr/>
            <p:nvPr/>
          </p:nvSpPr>
          <p:spPr>
            <a:xfrm>
              <a:off x="5496072" y="3676394"/>
              <a:ext cx="646097" cy="31746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2" name="Textfeld 131">
              <a:extLst>
                <a:ext uri="{FF2B5EF4-FFF2-40B4-BE49-F238E27FC236}">
                  <a16:creationId xmlns:a16="http://schemas.microsoft.com/office/drawing/2014/main" id="{40B94E1F-7B30-4DE7-906B-7A8224691FAB}"/>
                </a:ext>
              </a:extLst>
            </p:cNvPr>
            <p:cNvSpPr txBox="1"/>
            <p:nvPr/>
          </p:nvSpPr>
          <p:spPr bwMode="auto">
            <a:xfrm>
              <a:off x="5493938" y="3682214"/>
              <a:ext cx="64519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err="1"/>
                <a:t>Bico</a:t>
              </a:r>
              <a:endParaRPr lang="de-DE" sz="900" b="1" dirty="0"/>
            </a:p>
          </p:txBody>
        </p:sp>
        <p:cxnSp>
          <p:nvCxnSpPr>
            <p:cNvPr id="133" name="Gewinkelte Verbindung 84">
              <a:extLst>
                <a:ext uri="{FF2B5EF4-FFF2-40B4-BE49-F238E27FC236}">
                  <a16:creationId xmlns:a16="http://schemas.microsoft.com/office/drawing/2014/main" id="{9EE2E350-9F73-4FE2-82CA-34262F2D0D21}"/>
                </a:ext>
              </a:extLst>
            </p:cNvPr>
            <p:cNvCxnSpPr>
              <a:cxnSpLocks/>
              <a:stCxn id="88" idx="2"/>
              <a:endCxn id="137" idx="0"/>
            </p:cNvCxnSpPr>
            <p:nvPr/>
          </p:nvCxnSpPr>
          <p:spPr>
            <a:xfrm rot="5400000">
              <a:off x="5811078" y="3120984"/>
              <a:ext cx="262943" cy="22556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4" name="Grafik 133">
              <a:extLst>
                <a:ext uri="{FF2B5EF4-FFF2-40B4-BE49-F238E27FC236}">
                  <a16:creationId xmlns:a16="http://schemas.microsoft.com/office/drawing/2014/main" id="{D10768B3-97FC-468A-8F65-BFAEA9668394}"/>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b="61773"/>
            <a:stretch/>
          </p:blipFill>
          <p:spPr>
            <a:xfrm>
              <a:off x="5624090" y="3418243"/>
              <a:ext cx="388365" cy="224710"/>
            </a:xfrm>
            <a:prstGeom prst="rect">
              <a:avLst/>
            </a:prstGeom>
          </p:spPr>
        </p:pic>
        <p:sp>
          <p:nvSpPr>
            <p:cNvPr id="135" name="Rechteck 134">
              <a:hlinkClick r:id="" action="ppaction://noaction"/>
              <a:extLst>
                <a:ext uri="{FF2B5EF4-FFF2-40B4-BE49-F238E27FC236}">
                  <a16:creationId xmlns:a16="http://schemas.microsoft.com/office/drawing/2014/main" id="{16088A1E-683A-4873-AAE0-38B80CA4337F}"/>
                </a:ext>
              </a:extLst>
            </p:cNvPr>
            <p:cNvSpPr/>
            <p:nvPr/>
          </p:nvSpPr>
          <p:spPr>
            <a:xfrm>
              <a:off x="2523237" y="2415156"/>
              <a:ext cx="684531" cy="6906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6" name="Rechteck 135">
              <a:hlinkClick r:id="rId21" action="ppaction://hlinksldjump"/>
              <a:extLst>
                <a:ext uri="{FF2B5EF4-FFF2-40B4-BE49-F238E27FC236}">
                  <a16:creationId xmlns:a16="http://schemas.microsoft.com/office/drawing/2014/main" id="{13B2148D-0387-49FB-B4CC-43DE7DA6CB4B}"/>
                </a:ext>
              </a:extLst>
            </p:cNvPr>
            <p:cNvSpPr/>
            <p:nvPr/>
          </p:nvSpPr>
          <p:spPr>
            <a:xfrm>
              <a:off x="2518685" y="3318731"/>
              <a:ext cx="667888"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7" name="Rechteck 136">
              <a:hlinkClick r:id="" action="ppaction://noaction"/>
              <a:extLst>
                <a:ext uri="{FF2B5EF4-FFF2-40B4-BE49-F238E27FC236}">
                  <a16:creationId xmlns:a16="http://schemas.microsoft.com/office/drawing/2014/main" id="{6C968D39-C844-4323-A283-527D93745FF7}"/>
                </a:ext>
              </a:extLst>
            </p:cNvPr>
            <p:cNvSpPr/>
            <p:nvPr/>
          </p:nvSpPr>
          <p:spPr>
            <a:xfrm>
              <a:off x="5501504" y="3365238"/>
              <a:ext cx="656525"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8" name="Rechteck 137">
              <a:extLst>
                <a:ext uri="{FF2B5EF4-FFF2-40B4-BE49-F238E27FC236}">
                  <a16:creationId xmlns:a16="http://schemas.microsoft.com/office/drawing/2014/main" id="{77B77662-6E3E-4E81-ABFB-08601CFC04C4}"/>
                </a:ext>
              </a:extLst>
            </p:cNvPr>
            <p:cNvSpPr/>
            <p:nvPr/>
          </p:nvSpPr>
          <p:spPr>
            <a:xfrm>
              <a:off x="6551956" y="3352042"/>
              <a:ext cx="655835" cy="6358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39" name="Rechteck 138">
              <a:extLst>
                <a:ext uri="{FF2B5EF4-FFF2-40B4-BE49-F238E27FC236}">
                  <a16:creationId xmlns:a16="http://schemas.microsoft.com/office/drawing/2014/main" id="{BB11FB36-2CEA-4C06-ADC2-79196C90DAAF}"/>
                </a:ext>
              </a:extLst>
            </p:cNvPr>
            <p:cNvSpPr/>
            <p:nvPr/>
          </p:nvSpPr>
          <p:spPr>
            <a:xfrm>
              <a:off x="7365496" y="3345288"/>
              <a:ext cx="655908" cy="623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0" name="Rechteck 139">
              <a:hlinkClick r:id="" action="ppaction://noaction"/>
              <a:extLst>
                <a:ext uri="{FF2B5EF4-FFF2-40B4-BE49-F238E27FC236}">
                  <a16:creationId xmlns:a16="http://schemas.microsoft.com/office/drawing/2014/main" id="{4A6F5C4A-8FFE-44F8-9F3F-C00D9ECEC193}"/>
                </a:ext>
              </a:extLst>
            </p:cNvPr>
            <p:cNvSpPr/>
            <p:nvPr/>
          </p:nvSpPr>
          <p:spPr>
            <a:xfrm>
              <a:off x="8165782" y="3341070"/>
              <a:ext cx="654581"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1" name="Rechteck 140">
              <a:hlinkClick r:id="" action="ppaction://noaction"/>
              <a:extLst>
                <a:ext uri="{FF2B5EF4-FFF2-40B4-BE49-F238E27FC236}">
                  <a16:creationId xmlns:a16="http://schemas.microsoft.com/office/drawing/2014/main" id="{AC5216B4-BF01-4AE8-A962-39DF0A79D60B}"/>
                </a:ext>
              </a:extLst>
            </p:cNvPr>
            <p:cNvSpPr/>
            <p:nvPr/>
          </p:nvSpPr>
          <p:spPr>
            <a:xfrm>
              <a:off x="6568943" y="3348243"/>
              <a:ext cx="647408"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2" name="Rechteck 141">
              <a:hlinkClick r:id="" action="ppaction://noaction"/>
              <a:extLst>
                <a:ext uri="{FF2B5EF4-FFF2-40B4-BE49-F238E27FC236}">
                  <a16:creationId xmlns:a16="http://schemas.microsoft.com/office/drawing/2014/main" id="{EE8CC03C-44C8-45E8-BCB9-0101BB0C26D3}"/>
                </a:ext>
              </a:extLst>
            </p:cNvPr>
            <p:cNvSpPr/>
            <p:nvPr/>
          </p:nvSpPr>
          <p:spPr>
            <a:xfrm>
              <a:off x="7369404" y="3364946"/>
              <a:ext cx="654221"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3" name="Rechteck 142">
              <a:extLst>
                <a:ext uri="{FF2B5EF4-FFF2-40B4-BE49-F238E27FC236}">
                  <a16:creationId xmlns:a16="http://schemas.microsoft.com/office/drawing/2014/main" id="{1962D5D3-C6DB-45E8-8A82-7DA21D279CFB}"/>
                </a:ext>
              </a:extLst>
            </p:cNvPr>
            <p:cNvSpPr/>
            <p:nvPr/>
          </p:nvSpPr>
          <p:spPr>
            <a:xfrm>
              <a:off x="8025356" y="3354512"/>
              <a:ext cx="654506" cy="6434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4" name="Textfeld 143">
              <a:extLst>
                <a:ext uri="{FF2B5EF4-FFF2-40B4-BE49-F238E27FC236}">
                  <a16:creationId xmlns:a16="http://schemas.microsoft.com/office/drawing/2014/main" id="{AE61E86A-E1D5-4AB0-89E2-D77D656102DF}"/>
                </a:ext>
              </a:extLst>
            </p:cNvPr>
            <p:cNvSpPr txBox="1"/>
            <p:nvPr/>
          </p:nvSpPr>
          <p:spPr bwMode="gray">
            <a:xfrm>
              <a:off x="7512762" y="1274082"/>
              <a:ext cx="1272338" cy="311894"/>
            </a:xfrm>
            <a:prstGeom prst="rect">
              <a:avLst/>
            </a:prstGeom>
            <a:solidFill>
              <a:schemeClr val="bg1">
                <a:lumMod val="65000"/>
              </a:schemeClr>
            </a:solidFill>
          </p:spPr>
          <p:txBody>
            <a:bodyPr vert="horz" wrap="square" lIns="0" tIns="0" rIns="0" bIns="0" rtlCol="0" anchor="ctr">
              <a:noAutofit/>
            </a:bodyPr>
            <a:lstStyle/>
            <a:p>
              <a:pPr algn="ctr"/>
              <a:r>
                <a:rPr lang="de-DE" sz="900" b="1" dirty="0"/>
                <a:t>Extrusion</a:t>
              </a:r>
              <a:endParaRPr lang="de-DE" sz="1350" b="1" dirty="0"/>
            </a:p>
          </p:txBody>
        </p:sp>
        <p:sp>
          <p:nvSpPr>
            <p:cNvPr id="145" name="Textfeld 144">
              <a:extLst>
                <a:ext uri="{FF2B5EF4-FFF2-40B4-BE49-F238E27FC236}">
                  <a16:creationId xmlns:a16="http://schemas.microsoft.com/office/drawing/2014/main" id="{0E93AF73-307E-40E2-B189-436414766B30}"/>
                </a:ext>
              </a:extLst>
            </p:cNvPr>
            <p:cNvSpPr txBox="1"/>
            <p:nvPr/>
          </p:nvSpPr>
          <p:spPr bwMode="auto">
            <a:xfrm>
              <a:off x="3330662" y="3663017"/>
              <a:ext cx="648121" cy="317490"/>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algn="ctr"/>
              <a:r>
                <a:rPr lang="de-DE" sz="600" b="1" dirty="0"/>
                <a:t>Compact Spinning / Recycling</a:t>
              </a:r>
            </a:p>
          </p:txBody>
        </p:sp>
        <p:pic>
          <p:nvPicPr>
            <p:cNvPr id="146" name="Inhaltsplatzhalter 16">
              <a:extLst>
                <a:ext uri="{FF2B5EF4-FFF2-40B4-BE49-F238E27FC236}">
                  <a16:creationId xmlns:a16="http://schemas.microsoft.com/office/drawing/2014/main" id="{0548E486-8458-424F-B628-A6B3E1D3F242}"/>
                </a:ext>
              </a:extLst>
            </p:cNvPr>
            <p:cNvPicPr>
              <a:picLocks noChangeAspect="1"/>
            </p:cNvPicPr>
            <p:nvPr/>
          </p:nvPicPr>
          <p:blipFill rotWithShape="1">
            <a:blip r:embed="rId18" cstate="print">
              <a:grayscl/>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a:ext>
              </a:extLst>
            </a:blip>
            <a:srcRect l="11787" r="21165"/>
            <a:stretch/>
          </p:blipFill>
          <p:spPr>
            <a:xfrm>
              <a:off x="3450675" y="3351376"/>
              <a:ext cx="385735" cy="287657"/>
            </a:xfrm>
            <a:prstGeom prst="rect">
              <a:avLst/>
            </a:prstGeom>
          </p:spPr>
        </p:pic>
        <p:sp>
          <p:nvSpPr>
            <p:cNvPr id="147" name="Rechteck 146">
              <a:extLst>
                <a:ext uri="{FF2B5EF4-FFF2-40B4-BE49-F238E27FC236}">
                  <a16:creationId xmlns:a16="http://schemas.microsoft.com/office/drawing/2014/main" id="{5CA4E567-64FB-47B6-A36E-A78D853A47E6}"/>
                </a:ext>
              </a:extLst>
            </p:cNvPr>
            <p:cNvSpPr/>
            <p:nvPr/>
          </p:nvSpPr>
          <p:spPr>
            <a:xfrm>
              <a:off x="3332223" y="3347308"/>
              <a:ext cx="648291" cy="308648"/>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48" name="Rechteck 147">
              <a:hlinkClick r:id="" action="ppaction://noaction"/>
              <a:extLst>
                <a:ext uri="{FF2B5EF4-FFF2-40B4-BE49-F238E27FC236}">
                  <a16:creationId xmlns:a16="http://schemas.microsoft.com/office/drawing/2014/main" id="{7E9DE8B4-09B9-4CDB-8074-DA2DE4482BF6}"/>
                </a:ext>
              </a:extLst>
            </p:cNvPr>
            <p:cNvSpPr/>
            <p:nvPr/>
          </p:nvSpPr>
          <p:spPr>
            <a:xfrm>
              <a:off x="3326600" y="3351847"/>
              <a:ext cx="654581" cy="642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49" name="Rechteck 148">
              <a:extLst>
                <a:ext uri="{FF2B5EF4-FFF2-40B4-BE49-F238E27FC236}">
                  <a16:creationId xmlns:a16="http://schemas.microsoft.com/office/drawing/2014/main" id="{4F60B561-D60D-4A2A-B26A-AADF20560E1F}"/>
                </a:ext>
              </a:extLst>
            </p:cNvPr>
            <p:cNvSpPr/>
            <p:nvPr/>
          </p:nvSpPr>
          <p:spPr>
            <a:xfrm>
              <a:off x="4138393" y="4117192"/>
              <a:ext cx="1466100" cy="3174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0" name="Rechteck 149">
              <a:extLst>
                <a:ext uri="{FF2B5EF4-FFF2-40B4-BE49-F238E27FC236}">
                  <a16:creationId xmlns:a16="http://schemas.microsoft.com/office/drawing/2014/main" id="{2C0CA298-614F-40D7-9F53-8411CBBFFEEF}"/>
                </a:ext>
              </a:extLst>
            </p:cNvPr>
            <p:cNvSpPr/>
            <p:nvPr/>
          </p:nvSpPr>
          <p:spPr>
            <a:xfrm>
              <a:off x="5737220" y="4117192"/>
              <a:ext cx="1466100" cy="3174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1" name="Rechteck 150">
              <a:extLst>
                <a:ext uri="{FF2B5EF4-FFF2-40B4-BE49-F238E27FC236}">
                  <a16:creationId xmlns:a16="http://schemas.microsoft.com/office/drawing/2014/main" id="{56CAE334-5338-4B52-8E4D-ED05A39AFD50}"/>
                </a:ext>
              </a:extLst>
            </p:cNvPr>
            <p:cNvSpPr/>
            <p:nvPr/>
          </p:nvSpPr>
          <p:spPr>
            <a:xfrm>
              <a:off x="7339587" y="4117192"/>
              <a:ext cx="1466100" cy="3174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2" name="Rechteck 151">
              <a:hlinkClick r:id="" action="ppaction://noaction"/>
              <a:extLst>
                <a:ext uri="{FF2B5EF4-FFF2-40B4-BE49-F238E27FC236}">
                  <a16:creationId xmlns:a16="http://schemas.microsoft.com/office/drawing/2014/main" id="{32A8DCA5-EA26-4CD1-8859-116DB6E32A74}"/>
                </a:ext>
              </a:extLst>
            </p:cNvPr>
            <p:cNvSpPr/>
            <p:nvPr/>
          </p:nvSpPr>
          <p:spPr>
            <a:xfrm>
              <a:off x="2541050" y="4117192"/>
              <a:ext cx="1466100" cy="3174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3" name="Textfeld 152">
              <a:extLst>
                <a:ext uri="{FF2B5EF4-FFF2-40B4-BE49-F238E27FC236}">
                  <a16:creationId xmlns:a16="http://schemas.microsoft.com/office/drawing/2014/main" id="{3B547BCA-9525-487F-81D7-F770D526114E}"/>
                </a:ext>
              </a:extLst>
            </p:cNvPr>
            <p:cNvSpPr txBox="1"/>
            <p:nvPr/>
          </p:nvSpPr>
          <p:spPr bwMode="auto">
            <a:xfrm>
              <a:off x="2715071" y="4117192"/>
              <a:ext cx="114705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a:solidFill>
                    <a:schemeClr val="bg1"/>
                  </a:solidFill>
                </a:rPr>
                <a:t>Market </a:t>
              </a:r>
              <a:r>
                <a:rPr lang="de-DE" sz="900" b="1" dirty="0" err="1">
                  <a:solidFill>
                    <a:schemeClr val="bg1"/>
                  </a:solidFill>
                </a:rPr>
                <a:t>Overview</a:t>
              </a:r>
              <a:endParaRPr lang="de-DE" sz="900" b="1" dirty="0">
                <a:solidFill>
                  <a:schemeClr val="bg1"/>
                </a:solidFill>
              </a:endParaRPr>
            </a:p>
          </p:txBody>
        </p:sp>
        <p:sp>
          <p:nvSpPr>
            <p:cNvPr id="154" name="Textfeld 153">
              <a:extLst>
                <a:ext uri="{FF2B5EF4-FFF2-40B4-BE49-F238E27FC236}">
                  <a16:creationId xmlns:a16="http://schemas.microsoft.com/office/drawing/2014/main" id="{26856809-E419-4844-B21E-F4086E654BEA}"/>
                </a:ext>
              </a:extLst>
            </p:cNvPr>
            <p:cNvSpPr txBox="1"/>
            <p:nvPr/>
          </p:nvSpPr>
          <p:spPr bwMode="auto">
            <a:xfrm>
              <a:off x="4306992" y="4117192"/>
              <a:ext cx="114705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a:solidFill>
                    <a:schemeClr val="bg1"/>
                  </a:solidFill>
                </a:rPr>
                <a:t>Customer Services</a:t>
              </a:r>
            </a:p>
          </p:txBody>
        </p:sp>
        <p:sp>
          <p:nvSpPr>
            <p:cNvPr id="155" name="Textfeld 154">
              <a:extLst>
                <a:ext uri="{FF2B5EF4-FFF2-40B4-BE49-F238E27FC236}">
                  <a16:creationId xmlns:a16="http://schemas.microsoft.com/office/drawing/2014/main" id="{5EF69C95-5A88-40F7-AEED-C158B20E7016}"/>
                </a:ext>
              </a:extLst>
            </p:cNvPr>
            <p:cNvSpPr txBox="1"/>
            <p:nvPr/>
          </p:nvSpPr>
          <p:spPr bwMode="auto">
            <a:xfrm>
              <a:off x="5882199" y="4117192"/>
              <a:ext cx="114705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a:solidFill>
                    <a:schemeClr val="bg1"/>
                  </a:solidFill>
                </a:rPr>
                <a:t>Industrie 4.0 / POC / Automation</a:t>
              </a:r>
            </a:p>
          </p:txBody>
        </p:sp>
        <p:sp>
          <p:nvSpPr>
            <p:cNvPr id="156" name="Textfeld 155">
              <a:extLst>
                <a:ext uri="{FF2B5EF4-FFF2-40B4-BE49-F238E27FC236}">
                  <a16:creationId xmlns:a16="http://schemas.microsoft.com/office/drawing/2014/main" id="{4438C3CA-1EBB-4093-8D09-D306F16E96CD}"/>
                </a:ext>
              </a:extLst>
            </p:cNvPr>
            <p:cNvSpPr txBox="1"/>
            <p:nvPr/>
          </p:nvSpPr>
          <p:spPr bwMode="auto">
            <a:xfrm>
              <a:off x="7493154" y="4117192"/>
              <a:ext cx="1147055" cy="31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algn="ctr"/>
              <a:r>
                <a:rPr lang="de-DE" sz="900" b="1" dirty="0" err="1">
                  <a:solidFill>
                    <a:schemeClr val="bg1"/>
                  </a:solidFill>
                </a:rPr>
                <a:t>Financing</a:t>
              </a:r>
              <a:endParaRPr lang="de-DE" sz="900" b="1" dirty="0">
                <a:solidFill>
                  <a:schemeClr val="bg1"/>
                </a:solidFill>
              </a:endParaRPr>
            </a:p>
          </p:txBody>
        </p:sp>
        <p:sp>
          <p:nvSpPr>
            <p:cNvPr id="157" name="Rechteck 156">
              <a:hlinkClick r:id="" action="ppaction://noaction"/>
              <a:extLst>
                <a:ext uri="{FF2B5EF4-FFF2-40B4-BE49-F238E27FC236}">
                  <a16:creationId xmlns:a16="http://schemas.microsoft.com/office/drawing/2014/main" id="{1B660277-0ACA-4BF8-8140-F92379AEBD33}"/>
                </a:ext>
              </a:extLst>
            </p:cNvPr>
            <p:cNvSpPr/>
            <p:nvPr/>
          </p:nvSpPr>
          <p:spPr>
            <a:xfrm>
              <a:off x="2535651" y="4130001"/>
              <a:ext cx="1471499" cy="317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8" name="Rechteck 157">
              <a:extLst>
                <a:ext uri="{FF2B5EF4-FFF2-40B4-BE49-F238E27FC236}">
                  <a16:creationId xmlns:a16="http://schemas.microsoft.com/office/drawing/2014/main" id="{1F1B7EB8-A7CE-491C-BF61-DF66C09A2723}"/>
                </a:ext>
              </a:extLst>
            </p:cNvPr>
            <p:cNvSpPr/>
            <p:nvPr/>
          </p:nvSpPr>
          <p:spPr>
            <a:xfrm>
              <a:off x="4138393" y="4117192"/>
              <a:ext cx="1476215" cy="32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59" name="Rechteck 158">
              <a:hlinkClick r:id="" action="ppaction://noaction"/>
              <a:extLst>
                <a:ext uri="{FF2B5EF4-FFF2-40B4-BE49-F238E27FC236}">
                  <a16:creationId xmlns:a16="http://schemas.microsoft.com/office/drawing/2014/main" id="{01642BDF-D270-457D-8623-5F14ADE31792}"/>
                </a:ext>
              </a:extLst>
            </p:cNvPr>
            <p:cNvSpPr/>
            <p:nvPr/>
          </p:nvSpPr>
          <p:spPr>
            <a:xfrm>
              <a:off x="4149041" y="4118334"/>
              <a:ext cx="1478688" cy="317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60" name="Rechteck 159">
              <a:hlinkClick r:id="" action="ppaction://noaction"/>
              <a:extLst>
                <a:ext uri="{FF2B5EF4-FFF2-40B4-BE49-F238E27FC236}">
                  <a16:creationId xmlns:a16="http://schemas.microsoft.com/office/drawing/2014/main" id="{EF77D916-0FE2-48E2-BC41-56CC358B04FC}"/>
                </a:ext>
              </a:extLst>
            </p:cNvPr>
            <p:cNvSpPr/>
            <p:nvPr/>
          </p:nvSpPr>
          <p:spPr>
            <a:xfrm>
              <a:off x="5738598" y="4106047"/>
              <a:ext cx="1466100" cy="32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sp>
          <p:nvSpPr>
            <p:cNvPr id="161" name="Rechteck 160">
              <a:hlinkClick r:id="" action="ppaction://noaction"/>
              <a:extLst>
                <a:ext uri="{FF2B5EF4-FFF2-40B4-BE49-F238E27FC236}">
                  <a16:creationId xmlns:a16="http://schemas.microsoft.com/office/drawing/2014/main" id="{E96474C2-6434-4DCE-8DEE-4F65699F2D97}"/>
                </a:ext>
              </a:extLst>
            </p:cNvPr>
            <p:cNvSpPr/>
            <p:nvPr/>
          </p:nvSpPr>
          <p:spPr>
            <a:xfrm>
              <a:off x="7337568" y="4117192"/>
              <a:ext cx="1469997" cy="317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a:solidFill>
                  <a:schemeClr val="tx1"/>
                </a:solidFill>
              </a:endParaRPr>
            </a:p>
          </p:txBody>
        </p:sp>
        <p:sp>
          <p:nvSpPr>
            <p:cNvPr id="162" name="Rechteck 161">
              <a:hlinkClick r:id="" action="ppaction://noaction"/>
              <a:extLst>
                <a:ext uri="{FF2B5EF4-FFF2-40B4-BE49-F238E27FC236}">
                  <a16:creationId xmlns:a16="http://schemas.microsoft.com/office/drawing/2014/main" id="{546657C3-678C-46D6-8039-7D587772C0B4}"/>
                </a:ext>
              </a:extLst>
            </p:cNvPr>
            <p:cNvSpPr/>
            <p:nvPr/>
          </p:nvSpPr>
          <p:spPr>
            <a:xfrm>
              <a:off x="4192570" y="4110688"/>
              <a:ext cx="1489162" cy="3923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endParaRPr lang="de-DE" sz="1350" b="1" dirty="0">
                <a:solidFill>
                  <a:schemeClr val="tx1"/>
                </a:solidFill>
              </a:endParaRPr>
            </a:p>
          </p:txBody>
        </p:sp>
        <p:cxnSp>
          <p:nvCxnSpPr>
            <p:cNvPr id="163" name="Gewinkelte Verbindung 31">
              <a:extLst>
                <a:ext uri="{FF2B5EF4-FFF2-40B4-BE49-F238E27FC236}">
                  <a16:creationId xmlns:a16="http://schemas.microsoft.com/office/drawing/2014/main" id="{5C7AC39B-6916-4E18-A65B-D4A2B8CF0895}"/>
                </a:ext>
              </a:extLst>
            </p:cNvPr>
            <p:cNvCxnSpPr>
              <a:cxnSpLocks/>
              <a:endCxn id="148" idx="0"/>
            </p:cNvCxnSpPr>
            <p:nvPr/>
          </p:nvCxnSpPr>
          <p:spPr>
            <a:xfrm rot="16200000" flipH="1">
              <a:off x="2900293" y="2598248"/>
              <a:ext cx="1125725" cy="381471"/>
            </a:xfrm>
            <a:prstGeom prst="bentConnector3">
              <a:avLst>
                <a:gd name="adj1" fmla="val 89669"/>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4" name="Grafik 163">
              <a:hlinkClick r:id="rId22" action="ppaction://hlinkfile"/>
              <a:extLst>
                <a:ext uri="{FF2B5EF4-FFF2-40B4-BE49-F238E27FC236}">
                  <a16:creationId xmlns:a16="http://schemas.microsoft.com/office/drawing/2014/main" id="{1A00EB39-238D-42E5-B8B9-21300B7DFC47}"/>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r="23608" b="32808"/>
            <a:stretch/>
          </p:blipFill>
          <p:spPr>
            <a:xfrm>
              <a:off x="7955615" y="881377"/>
              <a:ext cx="864857" cy="288092"/>
            </a:xfrm>
            <a:prstGeom prst="rect">
              <a:avLst/>
            </a:prstGeom>
          </p:spPr>
        </p:pic>
      </p:grpSp>
      <p:sp>
        <p:nvSpPr>
          <p:cNvPr id="169" name="Text Placeholder 5">
            <a:extLst>
              <a:ext uri="{FF2B5EF4-FFF2-40B4-BE49-F238E27FC236}">
                <a16:creationId xmlns:a16="http://schemas.microsoft.com/office/drawing/2014/main" id="{774E0B0B-3207-4FC2-9552-7BEF66CCBD75}"/>
              </a:ext>
            </a:extLst>
          </p:cNvPr>
          <p:cNvSpPr>
            <a:spLocks noGrp="1"/>
          </p:cNvSpPr>
          <p:nvPr>
            <p:ph type="body" sz="quarter" idx="12"/>
          </p:nvPr>
        </p:nvSpPr>
        <p:spPr>
          <a:xfrm>
            <a:off x="358775" y="879475"/>
            <a:ext cx="2756819" cy="3973514"/>
          </a:xfrm>
        </p:spPr>
        <p:txBody>
          <a:bodyPr/>
          <a:lstStyle/>
          <a:p>
            <a:pPr lvl="2"/>
            <a:r>
              <a:rPr lang="en-US" sz="900" dirty="0"/>
              <a:t>CP Continuous Polycondensation Plant Solutions</a:t>
            </a:r>
          </a:p>
          <a:p>
            <a:pPr lvl="2"/>
            <a:r>
              <a:rPr lang="en-US" sz="900" dirty="0"/>
              <a:t>Filament Yarn (POY/FDY)</a:t>
            </a:r>
          </a:p>
          <a:p>
            <a:pPr lvl="3"/>
            <a:r>
              <a:rPr lang="en-US" sz="900" noProof="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noProof="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endParaRPr lang="en-US" sz="900" noProof="0" dirty="0"/>
          </a:p>
        </p:txBody>
      </p:sp>
      <p:sp>
        <p:nvSpPr>
          <p:cNvPr id="2" name="Rechteck 1">
            <a:extLst>
              <a:ext uri="{FF2B5EF4-FFF2-40B4-BE49-F238E27FC236}">
                <a16:creationId xmlns:a16="http://schemas.microsoft.com/office/drawing/2014/main" id="{75B175B9-D0CD-4FE2-A256-8FDB7E07FA16}"/>
              </a:ext>
            </a:extLst>
          </p:cNvPr>
          <p:cNvSpPr/>
          <p:nvPr/>
        </p:nvSpPr>
        <p:spPr>
          <a:xfrm>
            <a:off x="3308921" y="1154252"/>
            <a:ext cx="1394261" cy="3129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r>
              <a:rPr lang="de-DE" sz="1000" b="1" dirty="0">
                <a:solidFill>
                  <a:schemeClr val="tx1"/>
                </a:solidFill>
              </a:rPr>
              <a:t>Hot Runner Systems</a:t>
            </a:r>
          </a:p>
        </p:txBody>
      </p:sp>
      <p:cxnSp>
        <p:nvCxnSpPr>
          <p:cNvPr id="7" name="Gerader Verbinder 6">
            <a:extLst>
              <a:ext uri="{FF2B5EF4-FFF2-40B4-BE49-F238E27FC236}">
                <a16:creationId xmlns:a16="http://schemas.microsoft.com/office/drawing/2014/main" id="{32464259-0BB5-4209-9C79-B38BD4F99AF3}"/>
              </a:ext>
            </a:extLst>
          </p:cNvPr>
          <p:cNvCxnSpPr>
            <a:stCxn id="2" idx="3"/>
            <a:endCxn id="80" idx="1"/>
          </p:cNvCxnSpPr>
          <p:nvPr/>
        </p:nvCxnSpPr>
        <p:spPr>
          <a:xfrm>
            <a:off x="4703182" y="1310751"/>
            <a:ext cx="590916" cy="250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83896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3</a:t>
            </a:fld>
            <a:endParaRPr lang="de-DE" dirty="0"/>
          </a:p>
        </p:txBody>
      </p:sp>
      <p:sp>
        <p:nvSpPr>
          <p:cNvPr id="5" name="Title 4"/>
          <p:cNvSpPr>
            <a:spLocks noGrp="1"/>
          </p:cNvSpPr>
          <p:nvPr>
            <p:ph type="title"/>
          </p:nvPr>
        </p:nvSpPr>
        <p:spPr>
          <a:xfrm>
            <a:off x="358775" y="185326"/>
            <a:ext cx="7165553" cy="692165"/>
          </a:xfrm>
        </p:spPr>
        <p:txBody>
          <a:bodyPr/>
          <a:lstStyle/>
          <a:p>
            <a:pPr rtl="0" eaLnBrk="1" latinLnBrk="0" hangingPunct="1"/>
            <a:r>
              <a:rPr lang="en-US" sz="2000" b="1" kern="1200" baseline="0" dirty="0">
                <a:solidFill>
                  <a:schemeClr val="tx1"/>
                </a:solidFill>
                <a:effectLst/>
                <a:latin typeface="+mj-lt"/>
                <a:ea typeface="+mj-ea"/>
                <a:cs typeface="+mj-cs"/>
              </a:rPr>
              <a:t>CP Continuous Polycondensation Plant Solutions</a:t>
            </a:r>
            <a:endParaRPr lang="de-DE" dirty="0">
              <a:effectLst/>
            </a:endParaRPr>
          </a:p>
        </p:txBody>
      </p:sp>
      <p:sp>
        <p:nvSpPr>
          <p:cNvPr id="15" name="Text Placeholder 5"/>
          <p:cNvSpPr txBox="1">
            <a:spLocks/>
          </p:cNvSpPr>
          <p:nvPr/>
        </p:nvSpPr>
        <p:spPr bwMode="gray">
          <a:xfrm>
            <a:off x="3240088" y="879475"/>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hlinkClick r:id="rId3"/>
              </a:rPr>
              <a:t>Polymer Processing </a:t>
            </a:r>
            <a:br>
              <a:rPr lang="en-US" sz="900" b="1" dirty="0"/>
            </a:br>
            <a:r>
              <a:rPr lang="en-US" sz="900" dirty="0"/>
              <a:t>Homogenous melt is the very basis for high quality yarn and all other plastic materials. Producing this is the job of our efficient and high-end continuous polycondensation systems and extrusions lines for fiber-grade and bottle-grade polyester as well as other polymers. Whereas polycondensation plants produce the melt by a chemical reaction, extrusion produces the melt by a mechanical process. The choice of polycondensation or extrusion depends on many factors including the production rate, the nature of the material and the size of the final product. The efficient and high-end continuous polycondensation plants of the subsidiary company Oerlikon Barmag Huitong Engineering (OBHE) produce a homogenous melt using a chemical reaction which transfers different monomers into polymers.</a:t>
            </a:r>
          </a:p>
          <a:p>
            <a:pPr lvl="7"/>
            <a:endParaRPr lang="en-US" sz="900" dirty="0"/>
          </a:p>
          <a:p>
            <a:pPr lvl="7"/>
            <a:r>
              <a:rPr lang="en-US" sz="900" b="1" dirty="0">
                <a:solidFill>
                  <a:srgbClr val="FF0000"/>
                </a:solidFill>
                <a:hlinkClick r:id="rId3">
                  <a:extLst>
                    <a:ext uri="{A12FA001-AC4F-418D-AE19-62706E023703}">
                      <ahyp:hlinkClr xmlns:ahyp="http://schemas.microsoft.com/office/drawing/2018/hyperlinkcolor" val="tx"/>
                    </a:ext>
                  </a:extLst>
                </a:hlinkClick>
              </a:rPr>
              <a:t>&gt;&gt; </a:t>
            </a:r>
            <a:r>
              <a:rPr lang="en-US" sz="900" b="1" dirty="0">
                <a:solidFill>
                  <a:srgbClr val="FF0000"/>
                </a:solidFill>
                <a:hlinkClick r:id="rId3">
                  <a:extLst>
                    <a:ext uri="{A12FA001-AC4F-418D-AE19-62706E023703}">
                      <ahyp:hlinkClr xmlns:ahyp="http://schemas.microsoft.com/office/drawing/2018/hyperlinkcolor" val="tx"/>
                    </a:ext>
                  </a:extLst>
                </a:hlinkClick>
              </a:rPr>
              <a:t>more</a:t>
            </a:r>
            <a:endParaRPr lang="en-US" sz="900" b="1" dirty="0">
              <a:solidFill>
                <a:srgbClr val="FF0000"/>
              </a:solidFill>
            </a:endParaRPr>
          </a:p>
        </p:txBody>
      </p:sp>
      <p:pic>
        <p:nvPicPr>
          <p:cNvPr id="36" name="Grafik 35">
            <a:extLst>
              <a:ext uri="{FF2B5EF4-FFF2-40B4-BE49-F238E27FC236}">
                <a16:creationId xmlns:a16="http://schemas.microsoft.com/office/drawing/2014/main" id="{55A14EB3-B21B-4EC8-B18A-6FB2C7C360A0}"/>
              </a:ext>
            </a:extLst>
          </p:cNvPr>
          <p:cNvPicPr>
            <a:picLocks noChangeAspect="1"/>
          </p:cNvPicPr>
          <p:nvPr/>
        </p:nvPicPr>
        <p:blipFill>
          <a:blip r:embed="rId4"/>
          <a:stretch>
            <a:fillRect/>
          </a:stretch>
        </p:blipFill>
        <p:spPr>
          <a:xfrm>
            <a:off x="6084168" y="2943694"/>
            <a:ext cx="2916155" cy="1635452"/>
          </a:xfrm>
          <a:prstGeom prst="rect">
            <a:avLst/>
          </a:prstGeom>
        </p:spPr>
      </p:pic>
      <p:sp>
        <p:nvSpPr>
          <p:cNvPr id="10" name="Text Placeholder 5">
            <a:extLst>
              <a:ext uri="{FF2B5EF4-FFF2-40B4-BE49-F238E27FC236}">
                <a16:creationId xmlns:a16="http://schemas.microsoft.com/office/drawing/2014/main" id="{92364126-74C1-4425-9600-B3B485E418FC}"/>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b="1" dirty="0">
                <a:hlinkClick r:id="rId3"/>
              </a:rPr>
              <a:t>CP Continuous Polycondensation Plant Solutions</a:t>
            </a:r>
            <a:endParaRPr lang="en-US" sz="900" b="1" dirty="0"/>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9" name="Footer Placeholder 2">
            <a:extLst>
              <a:ext uri="{FF2B5EF4-FFF2-40B4-BE49-F238E27FC236}">
                <a16:creationId xmlns:a16="http://schemas.microsoft.com/office/drawing/2014/main" id="{9FF176FB-1BCE-4CFB-9DC1-98789E44057B}"/>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5"/>
              </a:rPr>
              <a:t>&gt;&gt; Picture </a:t>
            </a:r>
            <a:r>
              <a:rPr lang="de-DE" dirty="0" err="1">
                <a:solidFill>
                  <a:srgbClr val="FF0000"/>
                </a:solidFill>
                <a:hlinkClick r:id="rId5"/>
              </a:rPr>
              <a:t>download</a:t>
            </a:r>
            <a:r>
              <a:rPr lang="de-DE" dirty="0">
                <a:solidFill>
                  <a:srgbClr val="FF0000"/>
                </a:solidFill>
                <a:hlinkClick r:id="rId5"/>
              </a:rPr>
              <a:t> CP Solutions</a:t>
            </a:r>
            <a:endParaRPr lang="de-DE" dirty="0">
              <a:solidFill>
                <a:srgbClr val="FF0000"/>
              </a:solidFill>
            </a:endParaRPr>
          </a:p>
        </p:txBody>
      </p:sp>
    </p:spTree>
    <p:extLst>
      <p:ext uri="{BB962C8B-B14F-4D97-AF65-F5344CB8AC3E}">
        <p14:creationId xmlns:p14="http://schemas.microsoft.com/office/powerpoint/2010/main" val="15669488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4</a:t>
            </a:fld>
            <a:endParaRPr lang="de-DE" dirty="0"/>
          </a:p>
        </p:txBody>
      </p:sp>
      <p:sp>
        <p:nvSpPr>
          <p:cNvPr id="5" name="Title 4"/>
          <p:cNvSpPr>
            <a:spLocks noGrp="1"/>
          </p:cNvSpPr>
          <p:nvPr>
            <p:ph type="title"/>
          </p:nvPr>
        </p:nvSpPr>
        <p:spPr/>
        <p:txBody>
          <a:bodyPr/>
          <a:lstStyle/>
          <a:p>
            <a:pPr rtl="0" eaLnBrk="1" latinLnBrk="0" hangingPunct="1"/>
            <a:r>
              <a:rPr lang="en-US" sz="2000" b="1" kern="1200" baseline="0" dirty="0">
                <a:solidFill>
                  <a:schemeClr val="tx1"/>
                </a:solidFill>
                <a:effectLst/>
                <a:latin typeface="+mj-lt"/>
                <a:ea typeface="+mj-ea"/>
                <a:cs typeface="+mj-cs"/>
              </a:rPr>
              <a:t>Filament Yarn (POY/FDY)</a:t>
            </a:r>
            <a:endParaRPr lang="de-DE" sz="2000" dirty="0">
              <a:effectLst/>
            </a:endParaRPr>
          </a:p>
        </p:txBody>
      </p:sp>
      <p:sp>
        <p:nvSpPr>
          <p:cNvPr id="15" name="Text Placeholder 5"/>
          <p:cNvSpPr txBox="1">
            <a:spLocks/>
          </p:cNvSpPr>
          <p:nvPr/>
        </p:nvSpPr>
        <p:spPr bwMode="gray">
          <a:xfrm>
            <a:off x="3240088" y="879475"/>
            <a:ext cx="5545137"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en-US" sz="900" b="1" dirty="0"/>
              <a:t>POY spinning with WINGS</a:t>
            </a:r>
            <a:br>
              <a:rPr lang="de-DE" sz="900" dirty="0"/>
            </a:br>
            <a:r>
              <a:rPr lang="en-US" sz="900" dirty="0"/>
              <a:t>Pre-oriented yarns (POY) are the starting material for a wide range of fashion, sports, functional and home textiles. Following production, POY yarns are textured and – with around 40 percent – make up the lion’s share of the global production of manmade fiber yarns.</a:t>
            </a:r>
            <a:endParaRPr lang="de-DE" sz="900" dirty="0"/>
          </a:p>
          <a:p>
            <a:pPr lvl="7"/>
            <a:endParaRPr lang="de-DE" sz="900" dirty="0"/>
          </a:p>
          <a:p>
            <a:pPr lvl="7"/>
            <a:br>
              <a:rPr lang="en-US" sz="900" b="1" dirty="0"/>
            </a:br>
            <a:endParaRPr lang="en-US" sz="900" b="1" dirty="0"/>
          </a:p>
          <a:p>
            <a:pPr lvl="7"/>
            <a:r>
              <a:rPr lang="en-US" sz="900" b="1" dirty="0"/>
              <a:t>FDY spinning with WINGS</a:t>
            </a:r>
            <a:br>
              <a:rPr lang="en-US" sz="900" b="1" dirty="0"/>
            </a:br>
            <a:r>
              <a:rPr lang="en-US" sz="900" dirty="0"/>
              <a:t>Fully-drawn yarns (FDY) are used to manufacture textile fabrics without the need for further finishing. Wherever textiles are to hang smoothly or glide fully-drawn yarns are used</a:t>
            </a:r>
            <a:r>
              <a:rPr lang="de-DE" sz="900" dirty="0"/>
              <a:t>.</a:t>
            </a:r>
          </a:p>
          <a:p>
            <a:pPr lvl="7"/>
            <a:endParaRPr lang="de-DE" sz="900" dirty="0"/>
          </a:p>
          <a:p>
            <a:pPr lvl="7"/>
            <a:endParaRPr lang="en-US" sz="900" b="1" dirty="0"/>
          </a:p>
          <a:p>
            <a:pPr lvl="7"/>
            <a:endParaRPr lang="en-US" sz="900" b="1" dirty="0">
              <a:solidFill>
                <a:schemeClr val="bg2"/>
              </a:solidFill>
            </a:endParaRPr>
          </a:p>
          <a:p>
            <a:pPr lvl="7"/>
            <a:r>
              <a:rPr lang="en-US" sz="900" b="1" dirty="0"/>
              <a:t>Compact Filament Spinning Line </a:t>
            </a:r>
            <a:r>
              <a:rPr lang="en-US" sz="900" b="1" dirty="0" err="1"/>
              <a:t>VarioFil</a:t>
            </a:r>
            <a:r>
              <a:rPr lang="en-US" sz="900" b="1" dirty="0"/>
              <a:t> </a:t>
            </a:r>
            <a:br>
              <a:rPr lang="en-US" sz="900" b="1" dirty="0"/>
            </a:br>
            <a:r>
              <a:rPr lang="en-US" sz="900" dirty="0" err="1"/>
              <a:t>VarioFil</a:t>
            </a:r>
            <a:r>
              <a:rPr lang="en-US" sz="900" dirty="0"/>
              <a:t> is the ideal production unit for manufacturers that have a wide range of products, small lot numbers or </a:t>
            </a:r>
            <a:r>
              <a:rPr lang="en-US" sz="900" dirty="0" err="1"/>
              <a:t>specialised</a:t>
            </a:r>
            <a:r>
              <a:rPr lang="en-US" sz="900" dirty="0"/>
              <a:t> products. The </a:t>
            </a:r>
            <a:r>
              <a:rPr lang="en-US" sz="900" dirty="0" err="1"/>
              <a:t>VarioFil</a:t>
            </a:r>
            <a:r>
              <a:rPr lang="en-US" sz="900" dirty="0"/>
              <a:t> unit is not limited to using only one material or a particular process. </a:t>
            </a:r>
            <a:r>
              <a:rPr lang="en-US" sz="900" dirty="0" err="1"/>
              <a:t>Customised</a:t>
            </a:r>
            <a:r>
              <a:rPr lang="en-US" sz="900" dirty="0"/>
              <a:t> conversion packages allow the unit to be adjusted to the market requirements quickly and at reasonable rates</a:t>
            </a:r>
            <a:r>
              <a:rPr lang="en-US" sz="900" dirty="0">
                <a:solidFill>
                  <a:srgbClr val="FF0000"/>
                </a:solidFill>
              </a:rPr>
              <a:t>.</a:t>
            </a:r>
          </a:p>
          <a:p>
            <a:pPr lvl="7"/>
            <a:endParaRPr lang="en-US" sz="900" dirty="0">
              <a:solidFill>
                <a:srgbClr val="FF0000"/>
              </a:solidFill>
            </a:endParaRPr>
          </a:p>
          <a:p>
            <a:pPr lvl="7"/>
            <a:endParaRPr lang="en-US" sz="900" dirty="0">
              <a:solidFill>
                <a:srgbClr val="FF0000"/>
              </a:solidFill>
            </a:endParaRPr>
          </a:p>
          <a:p>
            <a:pPr lvl="7"/>
            <a:endParaRPr lang="en-US" sz="900" dirty="0">
              <a:solidFill>
                <a:srgbClr val="FF0000"/>
              </a:solidFill>
            </a:endParaRPr>
          </a:p>
          <a:p>
            <a:pPr lvl="7"/>
            <a:r>
              <a:rPr lang="en-US" sz="900" dirty="0">
                <a:solidFill>
                  <a:srgbClr val="FF0000"/>
                </a:solidFill>
              </a:rPr>
              <a:t> </a:t>
            </a:r>
            <a:r>
              <a:rPr lang="en-US" sz="900" b="1" dirty="0">
                <a:solidFill>
                  <a:srgbClr val="FF0000"/>
                </a:solidFill>
                <a:hlinkClick r:id="rId3">
                  <a:extLst>
                    <a:ext uri="{A12FA001-AC4F-418D-AE19-62706E023703}">
                      <ahyp:hlinkClr xmlns:ahyp="http://schemas.microsoft.com/office/drawing/2018/hyperlinkcolor" val="tx"/>
                    </a:ext>
                  </a:extLst>
                </a:hlinkClick>
              </a:rPr>
              <a:t>&gt;&gt; </a:t>
            </a:r>
            <a:r>
              <a:rPr lang="en-US" sz="900" b="1" dirty="0">
                <a:solidFill>
                  <a:srgbClr val="FF0000"/>
                </a:solidFill>
                <a:hlinkClick r:id="rId3">
                  <a:extLst>
                    <a:ext uri="{A12FA001-AC4F-418D-AE19-62706E023703}">
                      <ahyp:hlinkClr xmlns:ahyp="http://schemas.microsoft.com/office/drawing/2018/hyperlinkcolor" val="tx"/>
                    </a:ext>
                  </a:extLst>
                </a:hlinkClick>
              </a:rPr>
              <a:t>more</a:t>
            </a:r>
            <a:endParaRPr lang="en-US" sz="900" b="1" dirty="0">
              <a:solidFill>
                <a:srgbClr val="FF0000"/>
              </a:solidFill>
            </a:endParaRPr>
          </a:p>
          <a:p>
            <a:pPr lvl="7"/>
            <a:endParaRPr lang="en-US" sz="900" dirty="0"/>
          </a:p>
        </p:txBody>
      </p:sp>
      <p:pic>
        <p:nvPicPr>
          <p:cNvPr id="21" name="Grafik 20">
            <a:extLst>
              <a:ext uri="{FF2B5EF4-FFF2-40B4-BE49-F238E27FC236}">
                <a16:creationId xmlns:a16="http://schemas.microsoft.com/office/drawing/2014/main" id="{90E348B0-AAC8-492C-A1C3-CA2931DA13BB}"/>
              </a:ext>
            </a:extLst>
          </p:cNvPr>
          <p:cNvPicPr>
            <a:picLocks noChangeAspect="1"/>
          </p:cNvPicPr>
          <p:nvPr/>
        </p:nvPicPr>
        <p:blipFill rotWithShape="1">
          <a:blip r:embed="rId4"/>
          <a:srcRect l="1424" t="7513" r="23198" b="53312"/>
          <a:stretch/>
        </p:blipFill>
        <p:spPr>
          <a:xfrm>
            <a:off x="3210143" y="1491214"/>
            <a:ext cx="3378201" cy="545425"/>
          </a:xfrm>
          <a:prstGeom prst="rect">
            <a:avLst/>
          </a:prstGeom>
        </p:spPr>
      </p:pic>
      <p:pic>
        <p:nvPicPr>
          <p:cNvPr id="23" name="Grafik 22">
            <a:extLst>
              <a:ext uri="{FF2B5EF4-FFF2-40B4-BE49-F238E27FC236}">
                <a16:creationId xmlns:a16="http://schemas.microsoft.com/office/drawing/2014/main" id="{F9CD6AD6-6B2D-4350-9754-E2E3E9900D66}"/>
              </a:ext>
            </a:extLst>
          </p:cNvPr>
          <p:cNvPicPr>
            <a:picLocks noChangeAspect="1"/>
          </p:cNvPicPr>
          <p:nvPr/>
        </p:nvPicPr>
        <p:blipFill rotWithShape="1">
          <a:blip r:embed="rId5"/>
          <a:srcRect l="1808" t="6286" r="49241" b="43369"/>
          <a:stretch/>
        </p:blipFill>
        <p:spPr>
          <a:xfrm>
            <a:off x="3218780" y="3959345"/>
            <a:ext cx="1114367" cy="591200"/>
          </a:xfrm>
          <a:prstGeom prst="rect">
            <a:avLst/>
          </a:prstGeom>
        </p:spPr>
      </p:pic>
      <p:pic>
        <p:nvPicPr>
          <p:cNvPr id="26" name="Grafik 25">
            <a:extLst>
              <a:ext uri="{FF2B5EF4-FFF2-40B4-BE49-F238E27FC236}">
                <a16:creationId xmlns:a16="http://schemas.microsoft.com/office/drawing/2014/main" id="{AFC6B53C-69A6-4DEC-8005-8247309D4CB1}"/>
              </a:ext>
            </a:extLst>
          </p:cNvPr>
          <p:cNvPicPr>
            <a:picLocks noChangeAspect="1"/>
          </p:cNvPicPr>
          <p:nvPr/>
        </p:nvPicPr>
        <p:blipFill rotWithShape="1">
          <a:blip r:embed="rId4"/>
          <a:srcRect l="76418" t="5547" b="53311"/>
          <a:stretch/>
        </p:blipFill>
        <p:spPr>
          <a:xfrm>
            <a:off x="7812360" y="1491214"/>
            <a:ext cx="1090819" cy="591200"/>
          </a:xfrm>
          <a:prstGeom prst="rect">
            <a:avLst/>
          </a:prstGeom>
        </p:spPr>
      </p:pic>
      <p:pic>
        <p:nvPicPr>
          <p:cNvPr id="29" name="Grafik 28">
            <a:extLst>
              <a:ext uri="{FF2B5EF4-FFF2-40B4-BE49-F238E27FC236}">
                <a16:creationId xmlns:a16="http://schemas.microsoft.com/office/drawing/2014/main" id="{5BBC15A7-2969-4766-B263-415C9E46F785}"/>
              </a:ext>
            </a:extLst>
          </p:cNvPr>
          <p:cNvPicPr>
            <a:picLocks noChangeAspect="1"/>
          </p:cNvPicPr>
          <p:nvPr/>
        </p:nvPicPr>
        <p:blipFill rotWithShape="1">
          <a:blip r:embed="rId5"/>
          <a:srcRect l="46185" t="4630" b="45422"/>
          <a:stretch/>
        </p:blipFill>
        <p:spPr>
          <a:xfrm>
            <a:off x="7740352" y="3959345"/>
            <a:ext cx="1234834" cy="591200"/>
          </a:xfrm>
          <a:prstGeom prst="rect">
            <a:avLst/>
          </a:prstGeom>
        </p:spPr>
      </p:pic>
      <p:sp>
        <p:nvSpPr>
          <p:cNvPr id="16" name="Text Placeholder 5">
            <a:extLst>
              <a:ext uri="{FF2B5EF4-FFF2-40B4-BE49-F238E27FC236}">
                <a16:creationId xmlns:a16="http://schemas.microsoft.com/office/drawing/2014/main" id="{E85FFD5C-0563-4395-98FB-EB78AF82DEC4}"/>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b="1" dirty="0">
                <a:hlinkClick r:id="rId3"/>
              </a:rPr>
              <a:t>Filament Yarn (POY/FDY)</a:t>
            </a:r>
            <a:endParaRPr lang="en-US" sz="900" b="1" dirty="0"/>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pic>
        <p:nvPicPr>
          <p:cNvPr id="50" name="Grafik 49">
            <a:extLst>
              <a:ext uri="{FF2B5EF4-FFF2-40B4-BE49-F238E27FC236}">
                <a16:creationId xmlns:a16="http://schemas.microsoft.com/office/drawing/2014/main" id="{2687F433-8343-4750-9FA5-23D4427808D4}"/>
              </a:ext>
            </a:extLst>
          </p:cNvPr>
          <p:cNvPicPr>
            <a:picLocks noChangeAspect="1"/>
          </p:cNvPicPr>
          <p:nvPr/>
        </p:nvPicPr>
        <p:blipFill>
          <a:blip r:embed="rId6"/>
          <a:stretch>
            <a:fillRect/>
          </a:stretch>
        </p:blipFill>
        <p:spPr>
          <a:xfrm>
            <a:off x="3251622" y="2570059"/>
            <a:ext cx="3181090" cy="536809"/>
          </a:xfrm>
          <a:prstGeom prst="rect">
            <a:avLst/>
          </a:prstGeom>
        </p:spPr>
      </p:pic>
      <p:pic>
        <p:nvPicPr>
          <p:cNvPr id="51" name="Grafik 50">
            <a:extLst>
              <a:ext uri="{FF2B5EF4-FFF2-40B4-BE49-F238E27FC236}">
                <a16:creationId xmlns:a16="http://schemas.microsoft.com/office/drawing/2014/main" id="{C8B5862F-AA8A-481E-AE52-49CD4AF89BB4}"/>
              </a:ext>
            </a:extLst>
          </p:cNvPr>
          <p:cNvPicPr>
            <a:picLocks noChangeAspect="1"/>
          </p:cNvPicPr>
          <p:nvPr/>
        </p:nvPicPr>
        <p:blipFill rotWithShape="1">
          <a:blip r:embed="rId7"/>
          <a:srcRect t="15244"/>
          <a:stretch/>
        </p:blipFill>
        <p:spPr>
          <a:xfrm>
            <a:off x="6621102" y="2541163"/>
            <a:ext cx="2185431" cy="545837"/>
          </a:xfrm>
          <a:prstGeom prst="rect">
            <a:avLst/>
          </a:prstGeom>
        </p:spPr>
      </p:pic>
      <p:sp>
        <p:nvSpPr>
          <p:cNvPr id="14" name="Footer Placeholder 2">
            <a:extLst>
              <a:ext uri="{FF2B5EF4-FFF2-40B4-BE49-F238E27FC236}">
                <a16:creationId xmlns:a16="http://schemas.microsoft.com/office/drawing/2014/main" id="{4A81CD87-008A-4B3B-AD7D-B1E0AB9E0399}"/>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8"/>
              </a:rPr>
              <a:t>&gt;&gt; Picture </a:t>
            </a:r>
            <a:r>
              <a:rPr lang="de-DE" dirty="0" err="1">
                <a:solidFill>
                  <a:srgbClr val="FF0000"/>
                </a:solidFill>
                <a:hlinkClick r:id="rId8"/>
              </a:rPr>
              <a:t>download</a:t>
            </a:r>
            <a:r>
              <a:rPr lang="de-DE" dirty="0">
                <a:solidFill>
                  <a:srgbClr val="FF0000"/>
                </a:solidFill>
                <a:hlinkClick r:id="rId8"/>
              </a:rPr>
              <a:t> Filament </a:t>
            </a:r>
            <a:r>
              <a:rPr lang="de-DE" dirty="0" err="1">
                <a:solidFill>
                  <a:srgbClr val="FF0000"/>
                </a:solidFill>
                <a:hlinkClick r:id="rId8"/>
              </a:rPr>
              <a:t>Yarn</a:t>
            </a:r>
            <a:r>
              <a:rPr lang="de-DE" dirty="0">
                <a:solidFill>
                  <a:srgbClr val="FF0000"/>
                </a:solidFill>
                <a:hlinkClick r:id="rId8"/>
              </a:rPr>
              <a:t> </a:t>
            </a:r>
            <a:endParaRPr lang="de-DE" dirty="0">
              <a:solidFill>
                <a:srgbClr val="FF0000"/>
              </a:solidFill>
            </a:endParaRPr>
          </a:p>
        </p:txBody>
      </p:sp>
    </p:spTree>
    <p:extLst>
      <p:ext uri="{BB962C8B-B14F-4D97-AF65-F5344CB8AC3E}">
        <p14:creationId xmlns:p14="http://schemas.microsoft.com/office/powerpoint/2010/main" val="6300397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B9F1FF64-40A4-44FC-9C2E-7459FF59E606}"/>
              </a:ext>
            </a:extLst>
          </p:cNvPr>
          <p:cNvPicPr>
            <a:picLocks noChangeAspect="1"/>
          </p:cNvPicPr>
          <p:nvPr/>
        </p:nvPicPr>
        <p:blipFill rotWithShape="1">
          <a:blip r:embed="rId3"/>
          <a:srcRect b="13809"/>
          <a:stretch/>
        </p:blipFill>
        <p:spPr>
          <a:xfrm>
            <a:off x="6516216" y="2613845"/>
            <a:ext cx="2451350" cy="2106947"/>
          </a:xfrm>
          <a:prstGeom prst="rect">
            <a:avLst/>
          </a:prstGeom>
        </p:spPr>
      </p:pic>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5</a:t>
            </a:fld>
            <a:endParaRPr lang="de-DE" dirty="0"/>
          </a:p>
        </p:txBody>
      </p:sp>
      <p:sp>
        <p:nvSpPr>
          <p:cNvPr id="5" name="Title 4"/>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b="1" kern="1200" baseline="0" dirty="0">
                <a:solidFill>
                  <a:schemeClr val="tx1"/>
                </a:solidFill>
                <a:effectLst/>
                <a:latin typeface="+mj-lt"/>
                <a:ea typeface="+mj-ea"/>
                <a:cs typeface="+mj-cs"/>
              </a:rPr>
              <a:t>Textured Yarn (DTY)</a:t>
            </a:r>
            <a:endParaRPr lang="en-US" noProof="0" dirty="0"/>
          </a:p>
        </p:txBody>
      </p:sp>
      <p:sp>
        <p:nvSpPr>
          <p:cNvPr id="15" name="Text Placeholder 5"/>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Solutions </a:t>
            </a:r>
            <a:r>
              <a:rPr lang="de-DE" sz="900" b="1" dirty="0" err="1"/>
              <a:t>for</a:t>
            </a:r>
            <a:r>
              <a:rPr lang="de-DE" sz="900" b="1" dirty="0"/>
              <a:t> DTY </a:t>
            </a:r>
            <a:r>
              <a:rPr lang="de-DE" sz="900" b="1" dirty="0" err="1"/>
              <a:t>production</a:t>
            </a:r>
            <a:endParaRPr lang="de-DE" sz="900" b="1" dirty="0"/>
          </a:p>
          <a:p>
            <a:pPr lvl="7"/>
            <a:r>
              <a:rPr lang="en-US" sz="900" dirty="0"/>
              <a:t>Texturing is a finishing step that transforms the POY supply yarn into DTY and hence into an attractive and unique product.</a:t>
            </a:r>
          </a:p>
          <a:p>
            <a:pPr lvl="7"/>
            <a:r>
              <a:rPr lang="en-US" sz="900" dirty="0"/>
              <a:t>Apparel, home textiles, automotive – there are countless applications for textured yarns manufactured on Oerlikon Barmag machines. Correspondingly specific are the demands made on the yarns used.</a:t>
            </a:r>
          </a:p>
          <a:p>
            <a:pPr lvl="7"/>
            <a:r>
              <a:rPr lang="en-US" sz="900" dirty="0"/>
              <a:t>During texturing, pre-oriented yarn (POY) is permanently crimped using friction. As a result, elasticity and heat retention are increased, the yarn receives a pleasant handle, while thermal conduction is simultaneously reduced.</a:t>
            </a:r>
          </a:p>
          <a:p>
            <a:pPr lvl="7"/>
            <a:endParaRPr lang="en-US" sz="900" dirty="0"/>
          </a:p>
          <a:p>
            <a:pPr lvl="7"/>
            <a:endParaRPr lang="en-US" sz="900" dirty="0"/>
          </a:p>
          <a:p>
            <a:pPr lvl="7"/>
            <a:endParaRPr lang="en-US" sz="900" dirty="0"/>
          </a:p>
          <a:p>
            <a:pPr lvl="7"/>
            <a:endParaRPr lang="en-US" sz="900" dirty="0"/>
          </a:p>
          <a:p>
            <a:pPr lvl="7"/>
            <a:r>
              <a:rPr lang="en-US" sz="900" b="1" dirty="0">
                <a:solidFill>
                  <a:srgbClr val="FF0000"/>
                </a:solidFill>
                <a:hlinkClick r:id="rId4">
                  <a:extLst>
                    <a:ext uri="{A12FA001-AC4F-418D-AE19-62706E023703}">
                      <ahyp:hlinkClr xmlns:ahyp="http://schemas.microsoft.com/office/drawing/2018/hyperlinkcolor" val="tx"/>
                    </a:ext>
                  </a:extLst>
                </a:hlinkClick>
              </a:rPr>
              <a:t>&gt;&gt; more</a:t>
            </a:r>
            <a:endParaRPr lang="en-US" sz="900" b="1" dirty="0">
              <a:solidFill>
                <a:srgbClr val="FF0000"/>
              </a:solidFill>
            </a:endParaRPr>
          </a:p>
          <a:p>
            <a:pPr lvl="7"/>
            <a:endParaRPr lang="de-DE" sz="900" dirty="0"/>
          </a:p>
          <a:p>
            <a:pPr lvl="7"/>
            <a:endParaRPr lang="de-DE" sz="900" dirty="0"/>
          </a:p>
        </p:txBody>
      </p:sp>
      <p:sp>
        <p:nvSpPr>
          <p:cNvPr id="10" name="Text Placeholder 5">
            <a:extLst>
              <a:ext uri="{FF2B5EF4-FFF2-40B4-BE49-F238E27FC236}">
                <a16:creationId xmlns:a16="http://schemas.microsoft.com/office/drawing/2014/main" id="{8B0E4DDA-5F6B-4ACF-B559-A7F74FF95CEB}"/>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b="1" dirty="0">
                <a:hlinkClick r:id="rId4"/>
              </a:rPr>
              <a:t>Textured Yarn (DTY)</a:t>
            </a:r>
            <a:endParaRPr lang="en-US" sz="900" b="1" dirty="0"/>
          </a:p>
          <a:p>
            <a:pPr lvl="2"/>
            <a:r>
              <a:rPr lang="en-US" sz="900" dirty="0"/>
              <a:t>Industrial Yarn (IDY) </a:t>
            </a:r>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pic>
        <p:nvPicPr>
          <p:cNvPr id="13" name="Grafik 12">
            <a:extLst>
              <a:ext uri="{FF2B5EF4-FFF2-40B4-BE49-F238E27FC236}">
                <a16:creationId xmlns:a16="http://schemas.microsoft.com/office/drawing/2014/main" id="{6E6F8886-8EAE-4873-902C-02F52D845F84}"/>
              </a:ext>
            </a:extLst>
          </p:cNvPr>
          <p:cNvPicPr>
            <a:picLocks noChangeAspect="1"/>
          </p:cNvPicPr>
          <p:nvPr/>
        </p:nvPicPr>
        <p:blipFill>
          <a:blip r:embed="rId5"/>
          <a:stretch>
            <a:fillRect/>
          </a:stretch>
        </p:blipFill>
        <p:spPr>
          <a:xfrm>
            <a:off x="3203876" y="2355726"/>
            <a:ext cx="4413615" cy="591200"/>
          </a:xfrm>
          <a:prstGeom prst="rect">
            <a:avLst/>
          </a:prstGeom>
        </p:spPr>
      </p:pic>
      <p:sp>
        <p:nvSpPr>
          <p:cNvPr id="11" name="Footer Placeholder 2">
            <a:extLst>
              <a:ext uri="{FF2B5EF4-FFF2-40B4-BE49-F238E27FC236}">
                <a16:creationId xmlns:a16="http://schemas.microsoft.com/office/drawing/2014/main" id="{37E90A8E-0687-4566-876E-0C7868FF8035}"/>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6"/>
              </a:rPr>
              <a:t>&gt;&gt; Picture </a:t>
            </a:r>
            <a:r>
              <a:rPr lang="de-DE" dirty="0" err="1">
                <a:solidFill>
                  <a:srgbClr val="FF0000"/>
                </a:solidFill>
                <a:hlinkClick r:id="rId6"/>
              </a:rPr>
              <a:t>download</a:t>
            </a:r>
            <a:r>
              <a:rPr lang="de-DE" dirty="0">
                <a:solidFill>
                  <a:srgbClr val="FF0000"/>
                </a:solidFill>
                <a:hlinkClick r:id="rId6"/>
              </a:rPr>
              <a:t> </a:t>
            </a:r>
            <a:r>
              <a:rPr lang="de-DE" dirty="0" err="1">
                <a:solidFill>
                  <a:srgbClr val="FF0000"/>
                </a:solidFill>
                <a:hlinkClick r:id="rId6"/>
              </a:rPr>
              <a:t>Textured</a:t>
            </a:r>
            <a:r>
              <a:rPr lang="de-DE" dirty="0">
                <a:solidFill>
                  <a:srgbClr val="FF0000"/>
                </a:solidFill>
                <a:hlinkClick r:id="rId6"/>
              </a:rPr>
              <a:t> </a:t>
            </a:r>
            <a:r>
              <a:rPr lang="de-DE" dirty="0" err="1">
                <a:solidFill>
                  <a:srgbClr val="FF0000"/>
                </a:solidFill>
                <a:hlinkClick r:id="rId6"/>
              </a:rPr>
              <a:t>Yarn</a:t>
            </a:r>
            <a:endParaRPr lang="de-DE" dirty="0">
              <a:solidFill>
                <a:srgbClr val="FF0000"/>
              </a:solidFill>
            </a:endParaRPr>
          </a:p>
        </p:txBody>
      </p:sp>
    </p:spTree>
    <p:extLst>
      <p:ext uri="{BB962C8B-B14F-4D97-AF65-F5344CB8AC3E}">
        <p14:creationId xmlns:p14="http://schemas.microsoft.com/office/powerpoint/2010/main" val="35096886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6</a:t>
            </a:fld>
            <a:endParaRPr lang="de-DE" dirty="0"/>
          </a:p>
        </p:txBody>
      </p:sp>
      <p:sp>
        <p:nvSpPr>
          <p:cNvPr id="5" name="Title 4"/>
          <p:cNvSpPr>
            <a:spLocks noGrp="1"/>
          </p:cNvSpPr>
          <p:nvPr>
            <p:ph type="title"/>
          </p:nvPr>
        </p:nvSpPr>
        <p:spPr/>
        <p:txBody>
          <a:bodyPr/>
          <a:lstStyle/>
          <a:p>
            <a:pPr rtl="0" eaLnBrk="1" latinLnBrk="0" hangingPunct="1"/>
            <a:r>
              <a:rPr lang="en-US" sz="2000" b="1" kern="1200" baseline="0" dirty="0">
                <a:solidFill>
                  <a:schemeClr val="tx1"/>
                </a:solidFill>
                <a:effectLst/>
                <a:latin typeface="+mj-lt"/>
                <a:ea typeface="+mj-ea"/>
                <a:cs typeface="+mj-cs"/>
              </a:rPr>
              <a:t>Industrial Yarn (IDY) </a:t>
            </a:r>
            <a:endParaRPr lang="de-DE" sz="2000" dirty="0">
              <a:effectLst/>
            </a:endParaRPr>
          </a:p>
        </p:txBody>
      </p:sp>
      <p:sp>
        <p:nvSpPr>
          <p:cNvPr id="15" name="Text Placeholder 5"/>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Industrial </a:t>
            </a:r>
            <a:r>
              <a:rPr lang="de-DE" sz="900" b="1" dirty="0" err="1"/>
              <a:t>Yarn</a:t>
            </a:r>
            <a:r>
              <a:rPr lang="de-DE" sz="900" b="1" dirty="0"/>
              <a:t> (IDY)</a:t>
            </a:r>
            <a:br>
              <a:rPr lang="de-DE" sz="900" b="1" dirty="0"/>
            </a:br>
            <a:r>
              <a:rPr lang="en-US" sz="900" dirty="0"/>
              <a:t>With a operation window of between 50 and 12,000 den per filament, Oerlikon Barmag industrial yarn systems cover an extremely-wide titer range. Depending on the application and the required yarn characteristics, Oerlikon Barmag systems produce ‘strong’ yarns for all applications: from high-tenacity high-modulus yarn for safety belts, HMLS yarns for tire cords all the way through to low and ultra-low shrinkage yarns for tarpaulins.</a:t>
            </a:r>
          </a:p>
          <a:p>
            <a:pPr lvl="7"/>
            <a:endParaRPr lang="en-US" sz="900" dirty="0"/>
          </a:p>
          <a:p>
            <a:pPr lvl="7"/>
            <a:endParaRPr lang="en-US" sz="900" dirty="0"/>
          </a:p>
          <a:p>
            <a:pPr lvl="7"/>
            <a:endParaRPr lang="en-US" sz="900" dirty="0"/>
          </a:p>
          <a:p>
            <a:pPr lvl="7"/>
            <a:endParaRPr lang="en-US" sz="900" dirty="0"/>
          </a:p>
          <a:p>
            <a:pPr lvl="7"/>
            <a:endParaRPr lang="en-US" sz="900" dirty="0"/>
          </a:p>
          <a:p>
            <a:pPr lvl="7"/>
            <a:r>
              <a:rPr lang="en-US" sz="900" b="1" dirty="0">
                <a:solidFill>
                  <a:srgbClr val="FF0000"/>
                </a:solidFill>
                <a:hlinkClick r:id="rId3">
                  <a:extLst>
                    <a:ext uri="{A12FA001-AC4F-418D-AE19-62706E023703}">
                      <ahyp:hlinkClr xmlns:ahyp="http://schemas.microsoft.com/office/drawing/2018/hyperlinkcolor" val="tx"/>
                    </a:ext>
                  </a:extLst>
                </a:hlinkClick>
              </a:rPr>
              <a:t>&gt;&gt; more</a:t>
            </a:r>
            <a:endParaRPr lang="de-DE" sz="900" dirty="0"/>
          </a:p>
        </p:txBody>
      </p:sp>
      <p:pic>
        <p:nvPicPr>
          <p:cNvPr id="13" name="Grafik 12">
            <a:extLst>
              <a:ext uri="{FF2B5EF4-FFF2-40B4-BE49-F238E27FC236}">
                <a16:creationId xmlns:a16="http://schemas.microsoft.com/office/drawing/2014/main" id="{83B6F509-B445-4E17-B726-D82440BCF8A9}"/>
              </a:ext>
            </a:extLst>
          </p:cNvPr>
          <p:cNvPicPr>
            <a:picLocks noChangeAspect="1"/>
          </p:cNvPicPr>
          <p:nvPr/>
        </p:nvPicPr>
        <p:blipFill>
          <a:blip r:embed="rId4"/>
          <a:stretch>
            <a:fillRect/>
          </a:stretch>
        </p:blipFill>
        <p:spPr>
          <a:xfrm>
            <a:off x="3240088" y="2037876"/>
            <a:ext cx="4153480" cy="543001"/>
          </a:xfrm>
          <a:prstGeom prst="rect">
            <a:avLst/>
          </a:prstGeom>
        </p:spPr>
      </p:pic>
      <p:pic>
        <p:nvPicPr>
          <p:cNvPr id="19" name="Grafik 18">
            <a:extLst>
              <a:ext uri="{FF2B5EF4-FFF2-40B4-BE49-F238E27FC236}">
                <a16:creationId xmlns:a16="http://schemas.microsoft.com/office/drawing/2014/main" id="{8D067579-6F46-43FA-A594-68F68E2409B4}"/>
              </a:ext>
            </a:extLst>
          </p:cNvPr>
          <p:cNvPicPr>
            <a:picLocks noChangeAspect="1"/>
          </p:cNvPicPr>
          <p:nvPr/>
        </p:nvPicPr>
        <p:blipFill>
          <a:blip r:embed="rId5"/>
          <a:stretch>
            <a:fillRect/>
          </a:stretch>
        </p:blipFill>
        <p:spPr>
          <a:xfrm>
            <a:off x="5796136" y="2750723"/>
            <a:ext cx="2870338" cy="1970069"/>
          </a:xfrm>
          <a:prstGeom prst="rect">
            <a:avLst/>
          </a:prstGeom>
        </p:spPr>
      </p:pic>
      <p:sp>
        <p:nvSpPr>
          <p:cNvPr id="10" name="Text Placeholder 5">
            <a:extLst>
              <a:ext uri="{FF2B5EF4-FFF2-40B4-BE49-F238E27FC236}">
                <a16:creationId xmlns:a16="http://schemas.microsoft.com/office/drawing/2014/main" id="{85B48A6A-9650-4FA5-B181-731FD831ED4C}"/>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b="1" dirty="0">
                <a:hlinkClick r:id="rId3"/>
              </a:rPr>
              <a:t>Industrial Yarn (IDY) </a:t>
            </a:r>
            <a:endParaRPr lang="en-US" sz="900" b="1" dirty="0"/>
          </a:p>
          <a:p>
            <a:pPr lvl="2"/>
            <a:r>
              <a:rPr lang="en-US" sz="900" dirty="0"/>
              <a:t>Carpet Yarn (BCF)</a:t>
            </a:r>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9" name="Footer Placeholder 2">
            <a:extLst>
              <a:ext uri="{FF2B5EF4-FFF2-40B4-BE49-F238E27FC236}">
                <a16:creationId xmlns:a16="http://schemas.microsoft.com/office/drawing/2014/main" id="{8608C7FF-9A6D-438B-936D-7E4F00820378}"/>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6"/>
              </a:rPr>
              <a:t>&gt;&gt; Picture </a:t>
            </a:r>
            <a:r>
              <a:rPr lang="de-DE" dirty="0" err="1">
                <a:solidFill>
                  <a:srgbClr val="FF0000"/>
                </a:solidFill>
                <a:hlinkClick r:id="rId6"/>
              </a:rPr>
              <a:t>download</a:t>
            </a:r>
            <a:r>
              <a:rPr lang="de-DE" dirty="0">
                <a:solidFill>
                  <a:srgbClr val="FF0000"/>
                </a:solidFill>
                <a:hlinkClick r:id="rId6"/>
              </a:rPr>
              <a:t> Industrial </a:t>
            </a:r>
            <a:r>
              <a:rPr lang="de-DE" dirty="0" err="1">
                <a:solidFill>
                  <a:srgbClr val="FF0000"/>
                </a:solidFill>
                <a:hlinkClick r:id="rId6"/>
              </a:rPr>
              <a:t>Yarn</a:t>
            </a:r>
            <a:endParaRPr lang="de-DE" dirty="0">
              <a:solidFill>
                <a:srgbClr val="FF0000"/>
              </a:solidFill>
            </a:endParaRPr>
          </a:p>
        </p:txBody>
      </p:sp>
    </p:spTree>
    <p:extLst>
      <p:ext uri="{BB962C8B-B14F-4D97-AF65-F5344CB8AC3E}">
        <p14:creationId xmlns:p14="http://schemas.microsoft.com/office/powerpoint/2010/main" val="10885736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7</a:t>
            </a:fld>
            <a:endParaRPr lang="de-DE" dirty="0"/>
          </a:p>
        </p:txBody>
      </p:sp>
      <p:sp>
        <p:nvSpPr>
          <p:cNvPr id="5" name="Title 4"/>
          <p:cNvSpPr>
            <a:spLocks noGrp="1"/>
          </p:cNvSpPr>
          <p:nvPr>
            <p:ph type="title"/>
          </p:nvPr>
        </p:nvSpPr>
        <p:spPr/>
        <p:txBody>
          <a:bodyPr/>
          <a:lstStyle/>
          <a:p>
            <a:r>
              <a:rPr lang="en-US" sz="2000" b="1" kern="1200" baseline="0" dirty="0">
                <a:solidFill>
                  <a:schemeClr val="tx1"/>
                </a:solidFill>
                <a:effectLst/>
                <a:latin typeface="+mj-lt"/>
                <a:ea typeface="+mj-ea"/>
                <a:cs typeface="+mj-cs"/>
              </a:rPr>
              <a:t>Carpet Yarn </a:t>
            </a:r>
            <a:r>
              <a:rPr lang="en-US" sz="2000" b="1" dirty="0"/>
              <a:t>(BCF)</a:t>
            </a:r>
            <a:endParaRPr lang="de-DE" sz="2000" dirty="0">
              <a:effectLst/>
            </a:endParaRPr>
          </a:p>
        </p:txBody>
      </p:sp>
      <p:sp>
        <p:nvSpPr>
          <p:cNvPr id="15" name="Text Placeholder 5"/>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BCF </a:t>
            </a:r>
            <a:r>
              <a:rPr lang="de-DE" sz="900" b="1" dirty="0" err="1"/>
              <a:t>Carpet</a:t>
            </a:r>
            <a:r>
              <a:rPr lang="de-DE" sz="900" b="1" dirty="0"/>
              <a:t> </a:t>
            </a:r>
            <a:r>
              <a:rPr lang="de-DE" sz="900" b="1" dirty="0" err="1"/>
              <a:t>Yarn</a:t>
            </a:r>
            <a:r>
              <a:rPr lang="de-DE" sz="900" b="1" dirty="0"/>
              <a:t> Technology</a:t>
            </a:r>
            <a:endParaRPr lang="en-US" sz="900" b="1" dirty="0"/>
          </a:p>
          <a:p>
            <a:pPr lvl="7"/>
            <a:r>
              <a:rPr lang="de-DE" sz="900" dirty="0"/>
              <a:t>„Mastering </a:t>
            </a:r>
            <a:r>
              <a:rPr lang="de-DE" sz="900" dirty="0" err="1"/>
              <a:t>the</a:t>
            </a:r>
            <a:r>
              <a:rPr lang="de-DE" sz="900" dirty="0"/>
              <a:t> </a:t>
            </a:r>
            <a:r>
              <a:rPr lang="de-DE" sz="900" dirty="0" err="1"/>
              <a:t>entire</a:t>
            </a:r>
            <a:r>
              <a:rPr lang="de-DE" sz="900" dirty="0"/>
              <a:t> </a:t>
            </a:r>
            <a:r>
              <a:rPr lang="de-DE" sz="900" dirty="0" err="1"/>
              <a:t>carpet</a:t>
            </a:r>
            <a:r>
              <a:rPr lang="de-DE" sz="900" dirty="0"/>
              <a:t> </a:t>
            </a:r>
            <a:r>
              <a:rPr lang="de-DE" sz="900" dirty="0" err="1"/>
              <a:t>yarn</a:t>
            </a:r>
            <a:r>
              <a:rPr lang="de-DE" sz="900" dirty="0"/>
              <a:t> </a:t>
            </a:r>
            <a:r>
              <a:rPr lang="de-DE" sz="900" dirty="0" err="1"/>
              <a:t>production</a:t>
            </a:r>
            <a:r>
              <a:rPr lang="de-DE" sz="900" dirty="0"/>
              <a:t> </a:t>
            </a:r>
            <a:r>
              <a:rPr lang="de-DE" sz="900" dirty="0" err="1"/>
              <a:t>process</a:t>
            </a:r>
            <a:r>
              <a:rPr lang="de-DE" sz="900" dirty="0"/>
              <a:t>“</a:t>
            </a:r>
          </a:p>
          <a:p>
            <a:pPr lvl="7"/>
            <a:r>
              <a:rPr lang="en-US" sz="900" dirty="0"/>
              <a:t>With the BCF plants BCF S8, S+ and </a:t>
            </a:r>
            <a:r>
              <a:rPr lang="en-US" sz="900" dirty="0" err="1"/>
              <a:t>Sytec</a:t>
            </a:r>
            <a:r>
              <a:rPr lang="en-US" sz="900" dirty="0"/>
              <a:t> One, Oerlikon Neumag offers a product portfolio in which the customer is certain to find the plant designed to meet their individual needs.</a:t>
            </a:r>
          </a:p>
          <a:p>
            <a:pPr lvl="7"/>
            <a:endParaRPr lang="en-US" sz="900" dirty="0"/>
          </a:p>
          <a:p>
            <a:pPr lvl="7"/>
            <a:endParaRPr lang="en-US" sz="900" dirty="0"/>
          </a:p>
          <a:p>
            <a:pPr lvl="7"/>
            <a:endParaRPr lang="en-US" sz="900" dirty="0"/>
          </a:p>
          <a:p>
            <a:pPr lvl="7"/>
            <a:endParaRPr lang="en-US" sz="900" dirty="0"/>
          </a:p>
          <a:p>
            <a:pPr lvl="7"/>
            <a:r>
              <a:rPr lang="en-US" sz="900" b="1" dirty="0">
                <a:solidFill>
                  <a:srgbClr val="FF0000"/>
                </a:solidFill>
                <a:hlinkClick r:id="rId3">
                  <a:extLst>
                    <a:ext uri="{A12FA001-AC4F-418D-AE19-62706E023703}">
                      <ahyp:hlinkClr xmlns:ahyp="http://schemas.microsoft.com/office/drawing/2018/hyperlinkcolor" val="tx"/>
                    </a:ext>
                  </a:extLst>
                </a:hlinkClick>
              </a:rPr>
              <a:t>&gt;&gt; more</a:t>
            </a:r>
            <a:endParaRPr lang="de-DE" sz="900" dirty="0"/>
          </a:p>
        </p:txBody>
      </p:sp>
      <p:pic>
        <p:nvPicPr>
          <p:cNvPr id="6" name="Grafik 5">
            <a:extLst>
              <a:ext uri="{FF2B5EF4-FFF2-40B4-BE49-F238E27FC236}">
                <a16:creationId xmlns:a16="http://schemas.microsoft.com/office/drawing/2014/main" id="{73D2E4C4-B6E3-4EB6-86B3-144CFA47F2FA}"/>
              </a:ext>
            </a:extLst>
          </p:cNvPr>
          <p:cNvPicPr>
            <a:picLocks noChangeAspect="1"/>
          </p:cNvPicPr>
          <p:nvPr/>
        </p:nvPicPr>
        <p:blipFill>
          <a:blip r:embed="rId4"/>
          <a:stretch>
            <a:fillRect/>
          </a:stretch>
        </p:blipFill>
        <p:spPr>
          <a:xfrm>
            <a:off x="3240088" y="1789316"/>
            <a:ext cx="5249008" cy="552527"/>
          </a:xfrm>
          <a:prstGeom prst="rect">
            <a:avLst/>
          </a:prstGeom>
        </p:spPr>
      </p:pic>
      <p:pic>
        <p:nvPicPr>
          <p:cNvPr id="8" name="Grafik 7">
            <a:extLst>
              <a:ext uri="{FF2B5EF4-FFF2-40B4-BE49-F238E27FC236}">
                <a16:creationId xmlns:a16="http://schemas.microsoft.com/office/drawing/2014/main" id="{A5B446E2-7A81-4909-9213-C1C05CBE9D47}"/>
              </a:ext>
            </a:extLst>
          </p:cNvPr>
          <p:cNvPicPr>
            <a:picLocks noChangeAspect="1"/>
          </p:cNvPicPr>
          <p:nvPr/>
        </p:nvPicPr>
        <p:blipFill rotWithShape="1">
          <a:blip r:embed="rId5"/>
          <a:srcRect b="7115"/>
          <a:stretch/>
        </p:blipFill>
        <p:spPr>
          <a:xfrm>
            <a:off x="7236296" y="2625515"/>
            <a:ext cx="1505875" cy="2040309"/>
          </a:xfrm>
          <a:prstGeom prst="rect">
            <a:avLst/>
          </a:prstGeom>
        </p:spPr>
      </p:pic>
      <p:pic>
        <p:nvPicPr>
          <p:cNvPr id="12" name="Grafik 11">
            <a:extLst>
              <a:ext uri="{FF2B5EF4-FFF2-40B4-BE49-F238E27FC236}">
                <a16:creationId xmlns:a16="http://schemas.microsoft.com/office/drawing/2014/main" id="{ACAAECF6-AE7F-448C-AA55-4159D74F5306}"/>
              </a:ext>
            </a:extLst>
          </p:cNvPr>
          <p:cNvPicPr>
            <a:picLocks noChangeAspect="1"/>
          </p:cNvPicPr>
          <p:nvPr/>
        </p:nvPicPr>
        <p:blipFill>
          <a:blip r:embed="rId6"/>
          <a:stretch>
            <a:fillRect/>
          </a:stretch>
        </p:blipFill>
        <p:spPr>
          <a:xfrm>
            <a:off x="4874640" y="2952227"/>
            <a:ext cx="2361656" cy="1796049"/>
          </a:xfrm>
          <a:prstGeom prst="rect">
            <a:avLst/>
          </a:prstGeom>
        </p:spPr>
      </p:pic>
      <p:sp>
        <p:nvSpPr>
          <p:cNvPr id="13" name="Text Placeholder 5">
            <a:extLst>
              <a:ext uri="{FF2B5EF4-FFF2-40B4-BE49-F238E27FC236}">
                <a16:creationId xmlns:a16="http://schemas.microsoft.com/office/drawing/2014/main" id="{33FDCF24-BEA8-427D-AE68-011B5B3F5BBC}"/>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b="1" dirty="0">
                <a:hlinkClick r:id="rId3"/>
              </a:rPr>
              <a:t>Carpet Yarn (BCF)</a:t>
            </a:r>
            <a:endParaRPr lang="en-US" sz="900" b="1" dirty="0"/>
          </a:p>
          <a:p>
            <a:pPr lvl="2"/>
            <a:r>
              <a:rPr lang="en-US" sz="900" dirty="0"/>
              <a:t>Staple Fiber</a:t>
            </a:r>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10" name="Footer Placeholder 2">
            <a:extLst>
              <a:ext uri="{FF2B5EF4-FFF2-40B4-BE49-F238E27FC236}">
                <a16:creationId xmlns:a16="http://schemas.microsoft.com/office/drawing/2014/main" id="{7F7FE21B-DF5F-4F98-A5E6-4949F15E211F}"/>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7"/>
              </a:rPr>
              <a:t>&gt;&gt; Picture </a:t>
            </a:r>
            <a:r>
              <a:rPr lang="de-DE" dirty="0" err="1">
                <a:solidFill>
                  <a:srgbClr val="FF0000"/>
                </a:solidFill>
                <a:hlinkClick r:id="rId7"/>
              </a:rPr>
              <a:t>download</a:t>
            </a:r>
            <a:r>
              <a:rPr lang="de-DE" dirty="0">
                <a:solidFill>
                  <a:srgbClr val="FF0000"/>
                </a:solidFill>
                <a:hlinkClick r:id="rId7"/>
              </a:rPr>
              <a:t> </a:t>
            </a:r>
            <a:r>
              <a:rPr lang="de-DE" dirty="0" err="1">
                <a:solidFill>
                  <a:srgbClr val="FF0000"/>
                </a:solidFill>
                <a:hlinkClick r:id="rId7"/>
              </a:rPr>
              <a:t>Carpet</a:t>
            </a:r>
            <a:r>
              <a:rPr lang="de-DE" dirty="0">
                <a:solidFill>
                  <a:srgbClr val="FF0000"/>
                </a:solidFill>
                <a:hlinkClick r:id="rId7"/>
              </a:rPr>
              <a:t> </a:t>
            </a:r>
            <a:r>
              <a:rPr lang="de-DE" dirty="0" err="1">
                <a:solidFill>
                  <a:srgbClr val="FF0000"/>
                </a:solidFill>
                <a:hlinkClick r:id="rId7"/>
              </a:rPr>
              <a:t>Yarn</a:t>
            </a:r>
            <a:r>
              <a:rPr lang="de-DE" dirty="0">
                <a:solidFill>
                  <a:srgbClr val="FF0000"/>
                </a:solidFill>
                <a:hlinkClick r:id="rId7"/>
              </a:rPr>
              <a:t> </a:t>
            </a:r>
            <a:endParaRPr lang="de-DE" dirty="0">
              <a:solidFill>
                <a:srgbClr val="FF0000"/>
              </a:solidFill>
            </a:endParaRPr>
          </a:p>
        </p:txBody>
      </p:sp>
    </p:spTree>
    <p:extLst>
      <p:ext uri="{BB962C8B-B14F-4D97-AF65-F5344CB8AC3E}">
        <p14:creationId xmlns:p14="http://schemas.microsoft.com/office/powerpoint/2010/main" val="171013195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r>
              <a:rPr lang="de-DE"/>
              <a:t>Page </a:t>
            </a:r>
            <a:fld id="{D126E9C2-5A98-4FED-83CF-BD978A28F274}" type="slidenum">
              <a:rPr lang="de-DE" smtClean="0"/>
              <a:pPr/>
              <a:t>8</a:t>
            </a:fld>
            <a:endParaRPr lang="de-DE" dirty="0"/>
          </a:p>
        </p:txBody>
      </p:sp>
      <p:sp>
        <p:nvSpPr>
          <p:cNvPr id="5" name="Title 4"/>
          <p:cNvSpPr>
            <a:spLocks noGrp="1"/>
          </p:cNvSpPr>
          <p:nvPr>
            <p:ph type="title"/>
          </p:nvPr>
        </p:nvSpPr>
        <p:spPr/>
        <p:txBody>
          <a:bodyPr/>
          <a:lstStyle/>
          <a:p>
            <a:r>
              <a:rPr lang="en-US" sz="2000" b="1" kern="1200" baseline="0" dirty="0">
                <a:solidFill>
                  <a:schemeClr val="tx1"/>
                </a:solidFill>
                <a:effectLst/>
                <a:latin typeface="+mj-lt"/>
                <a:ea typeface="+mj-ea"/>
                <a:cs typeface="+mj-cs"/>
              </a:rPr>
              <a:t>Staple Fiber</a:t>
            </a:r>
            <a:endParaRPr lang="de-DE" sz="2000" dirty="0">
              <a:effectLst/>
            </a:endParaRPr>
          </a:p>
        </p:txBody>
      </p:sp>
      <p:sp>
        <p:nvSpPr>
          <p:cNvPr id="15" name="Text Placeholder 5"/>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Staple Fiber Plant Solutions</a:t>
            </a:r>
          </a:p>
          <a:p>
            <a:pPr lvl="7"/>
            <a:r>
              <a:rPr lang="en-US" sz="900" dirty="0"/>
              <a:t>More than 4 million tons installed production capacity worldwide speak for themselves.</a:t>
            </a:r>
          </a:p>
          <a:p>
            <a:pPr lvl="7"/>
            <a:r>
              <a:rPr lang="en-US" sz="900" dirty="0"/>
              <a:t>Oerlikon Neumag staple fiber plants stand for highest product quality and absolute reliability.</a:t>
            </a:r>
          </a:p>
          <a:p>
            <a:pPr lvl="7"/>
            <a:r>
              <a:rPr lang="en-US" sz="900" dirty="0"/>
              <a:t>Oerlikon </a:t>
            </a:r>
            <a:r>
              <a:rPr lang="en-US" sz="900" dirty="0" err="1"/>
              <a:t>Neumags</a:t>
            </a:r>
            <a:r>
              <a:rPr lang="en-US" sz="900" dirty="0"/>
              <a:t> </a:t>
            </a:r>
            <a:r>
              <a:rPr lang="en-US" sz="900" b="1" dirty="0"/>
              <a:t>compact 1-step staple fiber spinning lines </a:t>
            </a:r>
            <a:r>
              <a:rPr lang="en-US" sz="900" dirty="0"/>
              <a:t>have an excellent flexibility with regard to the processable raw materials and titer range. </a:t>
            </a:r>
          </a:p>
          <a:p>
            <a:pPr lvl="7"/>
            <a:r>
              <a:rPr lang="en-US" sz="900" dirty="0"/>
              <a:t>Oerlikon </a:t>
            </a:r>
            <a:r>
              <a:rPr lang="en-US" sz="900" dirty="0" err="1"/>
              <a:t>Neumag´s</a:t>
            </a:r>
            <a:r>
              <a:rPr lang="en-US" sz="900" dirty="0"/>
              <a:t> </a:t>
            </a:r>
            <a:r>
              <a:rPr lang="en-US" sz="900" b="1" dirty="0"/>
              <a:t>two-step staple fiber plants </a:t>
            </a:r>
            <a:r>
              <a:rPr lang="en-US" sz="900" dirty="0"/>
              <a:t>are designed to meet highest quality requirements at minimum operation cost. </a:t>
            </a:r>
          </a:p>
          <a:p>
            <a:pPr lvl="7"/>
            <a:endParaRPr lang="en-US" sz="900" dirty="0">
              <a:solidFill>
                <a:srgbClr val="FF0000"/>
              </a:solidFill>
            </a:endParaRPr>
          </a:p>
          <a:p>
            <a:pPr lvl="7"/>
            <a:endParaRPr lang="en-US" sz="900" dirty="0">
              <a:solidFill>
                <a:srgbClr val="FF0000"/>
              </a:solidFill>
            </a:endParaRPr>
          </a:p>
          <a:p>
            <a:pPr lvl="7"/>
            <a:endParaRPr lang="en-US" sz="900" dirty="0">
              <a:solidFill>
                <a:srgbClr val="FF0000"/>
              </a:solidFill>
            </a:endParaRPr>
          </a:p>
          <a:p>
            <a:pPr lvl="7"/>
            <a:endParaRPr lang="en-US" sz="900" dirty="0">
              <a:solidFill>
                <a:srgbClr val="FF0000"/>
              </a:solidFill>
            </a:endParaRPr>
          </a:p>
          <a:p>
            <a:pPr lvl="7"/>
            <a:r>
              <a:rPr lang="en-US" sz="900" b="1" dirty="0">
                <a:solidFill>
                  <a:srgbClr val="FF0000"/>
                </a:solidFill>
                <a:hlinkClick r:id="rId3">
                  <a:extLst>
                    <a:ext uri="{A12FA001-AC4F-418D-AE19-62706E023703}">
                      <ahyp:hlinkClr xmlns:ahyp="http://schemas.microsoft.com/office/drawing/2018/hyperlinkcolor" val="tx"/>
                    </a:ext>
                  </a:extLst>
                </a:hlinkClick>
              </a:rPr>
              <a:t>&gt;&gt; more</a:t>
            </a:r>
            <a:endParaRPr lang="en-US" sz="900" b="1" dirty="0">
              <a:solidFill>
                <a:srgbClr val="FF0000"/>
              </a:solidFill>
            </a:endParaRPr>
          </a:p>
          <a:p>
            <a:pPr lvl="7"/>
            <a:endParaRPr lang="en-US" sz="900" dirty="0">
              <a:solidFill>
                <a:srgbClr val="FF0000"/>
              </a:solidFill>
            </a:endParaRPr>
          </a:p>
        </p:txBody>
      </p:sp>
      <p:sp>
        <p:nvSpPr>
          <p:cNvPr id="13" name="Text Placeholder 5">
            <a:extLst>
              <a:ext uri="{FF2B5EF4-FFF2-40B4-BE49-F238E27FC236}">
                <a16:creationId xmlns:a16="http://schemas.microsoft.com/office/drawing/2014/main" id="{33FDCF24-BEA8-427D-AE68-011B5B3F5BBC}"/>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b="1" dirty="0">
                <a:hlinkClick r:id="rId3"/>
              </a:rPr>
              <a:t>Staple Fiber</a:t>
            </a:r>
            <a:endParaRPr lang="en-US" sz="900" b="1" dirty="0"/>
          </a:p>
          <a:p>
            <a:pPr lvl="2"/>
            <a:r>
              <a:rPr lang="en-US" sz="900" dirty="0"/>
              <a:t>Nonwoven</a:t>
            </a:r>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pic>
        <p:nvPicPr>
          <p:cNvPr id="7" name="Grafik 6">
            <a:extLst>
              <a:ext uri="{FF2B5EF4-FFF2-40B4-BE49-F238E27FC236}">
                <a16:creationId xmlns:a16="http://schemas.microsoft.com/office/drawing/2014/main" id="{EAE8E35A-C240-4F95-B118-D8440509E5F0}"/>
              </a:ext>
            </a:extLst>
          </p:cNvPr>
          <p:cNvPicPr>
            <a:picLocks noChangeAspect="1"/>
          </p:cNvPicPr>
          <p:nvPr/>
        </p:nvPicPr>
        <p:blipFill rotWithShape="1">
          <a:blip r:embed="rId4"/>
          <a:srcRect b="4235"/>
          <a:stretch/>
        </p:blipFill>
        <p:spPr>
          <a:xfrm>
            <a:off x="6156176" y="3269172"/>
            <a:ext cx="2662029" cy="1451620"/>
          </a:xfrm>
          <a:prstGeom prst="rect">
            <a:avLst/>
          </a:prstGeom>
        </p:spPr>
      </p:pic>
      <p:pic>
        <p:nvPicPr>
          <p:cNvPr id="11" name="Grafik 10">
            <a:extLst>
              <a:ext uri="{FF2B5EF4-FFF2-40B4-BE49-F238E27FC236}">
                <a16:creationId xmlns:a16="http://schemas.microsoft.com/office/drawing/2014/main" id="{49DC6B0F-FB73-4C30-820E-93A0A901753D}"/>
              </a:ext>
            </a:extLst>
          </p:cNvPr>
          <p:cNvPicPr>
            <a:picLocks noChangeAspect="1"/>
          </p:cNvPicPr>
          <p:nvPr/>
        </p:nvPicPr>
        <p:blipFill>
          <a:blip r:embed="rId5"/>
          <a:stretch>
            <a:fillRect/>
          </a:stretch>
        </p:blipFill>
        <p:spPr>
          <a:xfrm>
            <a:off x="3240088" y="2332758"/>
            <a:ext cx="4191585" cy="533474"/>
          </a:xfrm>
          <a:prstGeom prst="rect">
            <a:avLst/>
          </a:prstGeom>
        </p:spPr>
      </p:pic>
      <p:sp>
        <p:nvSpPr>
          <p:cNvPr id="9" name="Footer Placeholder 2">
            <a:extLst>
              <a:ext uri="{FF2B5EF4-FFF2-40B4-BE49-F238E27FC236}">
                <a16:creationId xmlns:a16="http://schemas.microsoft.com/office/drawing/2014/main" id="{A0EA75D8-FAFF-4EB1-BCE2-0E4413C0976E}"/>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6"/>
              </a:rPr>
              <a:t>&gt;&gt; Picture </a:t>
            </a:r>
            <a:r>
              <a:rPr lang="de-DE" dirty="0" err="1">
                <a:solidFill>
                  <a:srgbClr val="FF0000"/>
                </a:solidFill>
                <a:hlinkClick r:id="rId6"/>
              </a:rPr>
              <a:t>download</a:t>
            </a:r>
            <a:r>
              <a:rPr lang="de-DE" dirty="0">
                <a:solidFill>
                  <a:srgbClr val="FF0000"/>
                </a:solidFill>
                <a:hlinkClick r:id="rId6"/>
              </a:rPr>
              <a:t> Staple Fiber</a:t>
            </a:r>
            <a:endParaRPr lang="de-DE" dirty="0">
              <a:solidFill>
                <a:srgbClr val="FF0000"/>
              </a:solidFill>
            </a:endParaRPr>
          </a:p>
        </p:txBody>
      </p:sp>
    </p:spTree>
    <p:extLst>
      <p:ext uri="{BB962C8B-B14F-4D97-AF65-F5344CB8AC3E}">
        <p14:creationId xmlns:p14="http://schemas.microsoft.com/office/powerpoint/2010/main" val="9135263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5A19308-A86E-48BF-8530-18E605CD212C}"/>
              </a:ext>
            </a:extLst>
          </p:cNvPr>
          <p:cNvSpPr>
            <a:spLocks noGrp="1"/>
          </p:cNvSpPr>
          <p:nvPr>
            <p:ph type="sldNum" sz="quarter" idx="15"/>
          </p:nvPr>
        </p:nvSpPr>
        <p:spPr/>
        <p:txBody>
          <a:bodyPr/>
          <a:lstStyle/>
          <a:p>
            <a:r>
              <a:rPr lang="en-US" noProof="0"/>
              <a:t>Page </a:t>
            </a:r>
            <a:fld id="{D126E9C2-5A98-4FED-83CF-BD978A28F274}" type="slidenum">
              <a:rPr lang="en-US" noProof="0" smtClean="0"/>
              <a:pPr/>
              <a:t>9</a:t>
            </a:fld>
            <a:endParaRPr lang="en-US" noProof="0" dirty="0"/>
          </a:p>
        </p:txBody>
      </p:sp>
      <p:sp>
        <p:nvSpPr>
          <p:cNvPr id="5" name="Titel 4">
            <a:extLst>
              <a:ext uri="{FF2B5EF4-FFF2-40B4-BE49-F238E27FC236}">
                <a16:creationId xmlns:a16="http://schemas.microsoft.com/office/drawing/2014/main" id="{561DEE1F-699F-4E3D-A7D9-57515F662205}"/>
              </a:ext>
            </a:extLst>
          </p:cNvPr>
          <p:cNvSpPr>
            <a:spLocks noGrp="1"/>
          </p:cNvSpPr>
          <p:nvPr>
            <p:ph type="title"/>
          </p:nvPr>
        </p:nvSpPr>
        <p:spPr/>
        <p:txBody>
          <a:bodyPr/>
          <a:lstStyle/>
          <a:p>
            <a:r>
              <a:rPr lang="de-DE" dirty="0"/>
              <a:t>Nonwoven</a:t>
            </a:r>
          </a:p>
        </p:txBody>
      </p:sp>
      <p:sp>
        <p:nvSpPr>
          <p:cNvPr id="6" name="Text Placeholder 5">
            <a:extLst>
              <a:ext uri="{FF2B5EF4-FFF2-40B4-BE49-F238E27FC236}">
                <a16:creationId xmlns:a16="http://schemas.microsoft.com/office/drawing/2014/main" id="{72FB3CC1-6BB0-4137-B155-2CBC588144E7}"/>
              </a:ext>
            </a:extLst>
          </p:cNvPr>
          <p:cNvSpPr txBox="1">
            <a:spLocks/>
          </p:cNvSpPr>
          <p:nvPr/>
        </p:nvSpPr>
        <p:spPr bwMode="gray">
          <a:xfrm>
            <a:off x="358775" y="879475"/>
            <a:ext cx="2756819" cy="39735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2"/>
            <a:r>
              <a:rPr lang="en-US" sz="900" dirty="0"/>
              <a:t>CP Continuous Polycondensation Plant Solutions</a:t>
            </a:r>
          </a:p>
          <a:p>
            <a:pPr lvl="2"/>
            <a:r>
              <a:rPr lang="en-US" sz="900" dirty="0"/>
              <a:t>Filament Yarn (POY/FDY)</a:t>
            </a:r>
          </a:p>
          <a:p>
            <a:pPr lvl="3"/>
            <a:r>
              <a:rPr lang="en-US" sz="900" dirty="0"/>
              <a:t>POY spinning with WINGS</a:t>
            </a:r>
          </a:p>
          <a:p>
            <a:pPr lvl="3"/>
            <a:r>
              <a:rPr lang="en-US" sz="900" dirty="0"/>
              <a:t>FDY spinning with WINGS</a:t>
            </a:r>
          </a:p>
          <a:p>
            <a:pPr lvl="3"/>
            <a:r>
              <a:rPr lang="en-US" sz="900" dirty="0"/>
              <a:t>Compact Filament Spinning Line </a:t>
            </a:r>
            <a:r>
              <a:rPr lang="en-US" sz="900" dirty="0" err="1"/>
              <a:t>VarioFil</a:t>
            </a:r>
            <a:endParaRPr lang="en-US" sz="900" dirty="0"/>
          </a:p>
          <a:p>
            <a:pPr lvl="2"/>
            <a:r>
              <a:rPr lang="en-US" sz="900" dirty="0"/>
              <a:t>Textured Yarn (DTY)</a:t>
            </a:r>
          </a:p>
          <a:p>
            <a:pPr lvl="2"/>
            <a:r>
              <a:rPr lang="en-US" sz="900" dirty="0"/>
              <a:t>Industrial Yarn (IDY) </a:t>
            </a:r>
          </a:p>
          <a:p>
            <a:pPr lvl="2"/>
            <a:r>
              <a:rPr lang="en-US" sz="900" dirty="0"/>
              <a:t>Carpet Yarn (BCF)</a:t>
            </a:r>
          </a:p>
          <a:p>
            <a:pPr lvl="2"/>
            <a:r>
              <a:rPr lang="en-US" sz="900" dirty="0"/>
              <a:t>Staple Fiber</a:t>
            </a:r>
          </a:p>
          <a:p>
            <a:pPr lvl="2"/>
            <a:r>
              <a:rPr lang="en-US" sz="900" b="1" dirty="0">
                <a:hlinkClick r:id="rId2"/>
              </a:rPr>
              <a:t>Nonwoven</a:t>
            </a:r>
            <a:endParaRPr lang="en-US" sz="900" b="1" dirty="0"/>
          </a:p>
          <a:p>
            <a:pPr lvl="2"/>
            <a:r>
              <a:rPr lang="en-US" sz="900" dirty="0"/>
              <a:t>Flow Control Solutions</a:t>
            </a:r>
          </a:p>
          <a:p>
            <a:pPr lvl="3"/>
            <a:r>
              <a:rPr lang="de-DE" sz="900" dirty="0"/>
              <a:t>Gear Metering Pumps </a:t>
            </a:r>
            <a:r>
              <a:rPr lang="de-DE" sz="900" dirty="0" err="1"/>
              <a:t>for</a:t>
            </a:r>
            <a:r>
              <a:rPr lang="de-DE" sz="900" dirty="0"/>
              <a:t> Manmade Fiber </a:t>
            </a:r>
            <a:r>
              <a:rPr lang="de-DE" sz="900" dirty="0" err="1"/>
              <a:t>Applications</a:t>
            </a:r>
            <a:endParaRPr lang="de-DE" sz="900" dirty="0"/>
          </a:p>
          <a:p>
            <a:pPr lvl="3"/>
            <a:r>
              <a:rPr lang="de-DE" sz="900" dirty="0"/>
              <a:t>Gear Metering Pumps </a:t>
            </a:r>
            <a:r>
              <a:rPr lang="de-DE" sz="900" dirty="0" err="1"/>
              <a:t>for</a:t>
            </a:r>
            <a:r>
              <a:rPr lang="de-DE" sz="900" dirty="0"/>
              <a:t> Non-textile </a:t>
            </a:r>
            <a:r>
              <a:rPr lang="de-DE" sz="900" dirty="0" err="1"/>
              <a:t>Applications</a:t>
            </a:r>
            <a:endParaRPr lang="de-DE" sz="900" dirty="0"/>
          </a:p>
          <a:p>
            <a:pPr lvl="3"/>
            <a:r>
              <a:rPr lang="de-DE" sz="900" dirty="0"/>
              <a:t>Hot Runner Systems</a:t>
            </a:r>
          </a:p>
          <a:p>
            <a:pPr lvl="2"/>
            <a:r>
              <a:rPr lang="en-US" sz="900" dirty="0"/>
              <a:t>Automation Solutions </a:t>
            </a:r>
          </a:p>
          <a:p>
            <a:pPr lvl="2"/>
            <a:r>
              <a:rPr lang="en-US" sz="900" dirty="0"/>
              <a:t>Digital Solutions</a:t>
            </a:r>
          </a:p>
        </p:txBody>
      </p:sp>
      <p:sp>
        <p:nvSpPr>
          <p:cNvPr id="8" name="Text Placeholder 5">
            <a:extLst>
              <a:ext uri="{FF2B5EF4-FFF2-40B4-BE49-F238E27FC236}">
                <a16:creationId xmlns:a16="http://schemas.microsoft.com/office/drawing/2014/main" id="{A8ED0C51-662B-4FB0-B1BC-D3BE72B741FC}"/>
              </a:ext>
            </a:extLst>
          </p:cNvPr>
          <p:cNvSpPr txBox="1">
            <a:spLocks/>
          </p:cNvSpPr>
          <p:nvPr/>
        </p:nvSpPr>
        <p:spPr bwMode="gray">
          <a:xfrm>
            <a:off x="3240088" y="886978"/>
            <a:ext cx="5545137" cy="3833814"/>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pPr lvl="7"/>
            <a:r>
              <a:rPr lang="de-DE" sz="900" b="1" dirty="0"/>
              <a:t>Nonwoven</a:t>
            </a:r>
            <a:endParaRPr lang="en-US" sz="900" b="1" dirty="0"/>
          </a:p>
          <a:p>
            <a:pPr lvl="7"/>
            <a:r>
              <a:rPr lang="en-US" sz="900" dirty="0"/>
              <a:t>As an engineering company for a wide range of nonwoven technologies, Oerlikon Nonwoven provides stand-alone machines and turnkey production lines for almost every type of nonwoven product.</a:t>
            </a:r>
          </a:p>
          <a:p>
            <a:pPr lvl="7"/>
            <a:r>
              <a:rPr lang="de-DE" sz="900" dirty="0"/>
              <a:t>Oerlikon Nonwoven </a:t>
            </a:r>
            <a:r>
              <a:rPr lang="de-DE" sz="900" dirty="0" err="1"/>
              <a:t>offers</a:t>
            </a:r>
            <a:r>
              <a:rPr lang="de-DE" sz="900" dirty="0"/>
              <a:t> flexible, high-performance </a:t>
            </a:r>
            <a:r>
              <a:rPr lang="de-DE" sz="900" dirty="0" err="1"/>
              <a:t>technologies</a:t>
            </a:r>
            <a:r>
              <a:rPr lang="de-DE" sz="900" dirty="0"/>
              <a:t> </a:t>
            </a:r>
            <a:r>
              <a:rPr lang="de-DE" sz="900" dirty="0" err="1"/>
              <a:t>for</a:t>
            </a:r>
            <a:r>
              <a:rPr lang="de-DE" sz="900" dirty="0"/>
              <a:t> </a:t>
            </a:r>
            <a:r>
              <a:rPr lang="de-DE" sz="900" dirty="0" err="1"/>
              <a:t>Meltblown</a:t>
            </a:r>
            <a:r>
              <a:rPr lang="de-DE" sz="900" dirty="0"/>
              <a:t>, </a:t>
            </a:r>
            <a:r>
              <a:rPr lang="de-DE" sz="900" dirty="0" err="1"/>
              <a:t>Coform</a:t>
            </a:r>
            <a:r>
              <a:rPr lang="de-DE" sz="900" dirty="0"/>
              <a:t> Phantom, </a:t>
            </a:r>
            <a:r>
              <a:rPr lang="de-DE" sz="900" dirty="0" err="1"/>
              <a:t>Spunmelt</a:t>
            </a:r>
            <a:r>
              <a:rPr lang="de-DE" sz="900" dirty="0"/>
              <a:t>, </a:t>
            </a:r>
            <a:r>
              <a:rPr lang="de-DE" sz="900" dirty="0" err="1"/>
              <a:t>Spunbond</a:t>
            </a:r>
            <a:r>
              <a:rPr lang="de-DE" sz="900" dirty="0"/>
              <a:t> and </a:t>
            </a:r>
            <a:r>
              <a:rPr lang="de-DE" sz="900" dirty="0" err="1"/>
              <a:t>Airlaid</a:t>
            </a:r>
            <a:r>
              <a:rPr lang="de-DE" sz="900" dirty="0"/>
              <a:t>.</a:t>
            </a:r>
          </a:p>
          <a:p>
            <a:pPr lvl="7"/>
            <a:endParaRPr lang="de-DE" sz="900" dirty="0"/>
          </a:p>
          <a:p>
            <a:pPr lvl="7"/>
            <a:r>
              <a:rPr lang="en-US" sz="900" b="1" dirty="0">
                <a:solidFill>
                  <a:srgbClr val="FF0000"/>
                </a:solidFill>
                <a:hlinkClick r:id="rId2">
                  <a:extLst>
                    <a:ext uri="{A12FA001-AC4F-418D-AE19-62706E023703}">
                      <ahyp:hlinkClr xmlns:ahyp="http://schemas.microsoft.com/office/drawing/2018/hyperlinkcolor" val="tx"/>
                    </a:ext>
                  </a:extLst>
                </a:hlinkClick>
              </a:rPr>
              <a:t>&gt;&gt; more</a:t>
            </a:r>
            <a:endParaRPr lang="de-DE" sz="900" dirty="0"/>
          </a:p>
        </p:txBody>
      </p:sp>
      <p:pic>
        <p:nvPicPr>
          <p:cNvPr id="16" name="Grafik 15">
            <a:extLst>
              <a:ext uri="{FF2B5EF4-FFF2-40B4-BE49-F238E27FC236}">
                <a16:creationId xmlns:a16="http://schemas.microsoft.com/office/drawing/2014/main" id="{23C4E225-1154-45C7-BB3D-A5E9A69356A9}"/>
              </a:ext>
            </a:extLst>
          </p:cNvPr>
          <p:cNvPicPr>
            <a:picLocks noChangeAspect="1"/>
          </p:cNvPicPr>
          <p:nvPr/>
        </p:nvPicPr>
        <p:blipFill>
          <a:blip r:embed="rId3"/>
          <a:stretch>
            <a:fillRect/>
          </a:stretch>
        </p:blipFill>
        <p:spPr>
          <a:xfrm>
            <a:off x="3240018" y="2729008"/>
            <a:ext cx="5545138" cy="837333"/>
          </a:xfrm>
          <a:prstGeom prst="rect">
            <a:avLst/>
          </a:prstGeom>
        </p:spPr>
      </p:pic>
      <p:pic>
        <p:nvPicPr>
          <p:cNvPr id="18" name="Grafik 17">
            <a:extLst>
              <a:ext uri="{FF2B5EF4-FFF2-40B4-BE49-F238E27FC236}">
                <a16:creationId xmlns:a16="http://schemas.microsoft.com/office/drawing/2014/main" id="{EAF0BAFF-EA56-42E6-B68B-EE461595E3D7}"/>
              </a:ext>
            </a:extLst>
          </p:cNvPr>
          <p:cNvPicPr>
            <a:picLocks noChangeAspect="1"/>
          </p:cNvPicPr>
          <p:nvPr/>
        </p:nvPicPr>
        <p:blipFill>
          <a:blip r:embed="rId4"/>
          <a:stretch>
            <a:fillRect/>
          </a:stretch>
        </p:blipFill>
        <p:spPr>
          <a:xfrm>
            <a:off x="5283582" y="3814401"/>
            <a:ext cx="3501574" cy="837333"/>
          </a:xfrm>
          <a:prstGeom prst="rect">
            <a:avLst/>
          </a:prstGeom>
        </p:spPr>
      </p:pic>
      <p:sp>
        <p:nvSpPr>
          <p:cNvPr id="9" name="Footer Placeholder 2">
            <a:extLst>
              <a:ext uri="{FF2B5EF4-FFF2-40B4-BE49-F238E27FC236}">
                <a16:creationId xmlns:a16="http://schemas.microsoft.com/office/drawing/2014/main" id="{74A472C7-1011-4433-8838-D605C928199C}"/>
              </a:ext>
            </a:extLst>
          </p:cNvPr>
          <p:cNvSpPr txBox="1">
            <a:spLocks/>
          </p:cNvSpPr>
          <p:nvPr/>
        </p:nvSpPr>
        <p:spPr bwMode="gray">
          <a:xfrm>
            <a:off x="1043744" y="4910536"/>
            <a:ext cx="3419513" cy="104378"/>
          </a:xfrm>
          <a:prstGeom prst="rect">
            <a:avLst/>
          </a:prstGeom>
        </p:spPr>
        <p:txBody>
          <a:bodyPr vert="horz" lIns="0" tIns="0" rIns="0" bIns="0" rtlCol="0" anchor="b"/>
          <a:lstStyle>
            <a:defPPr>
              <a:defRPr lang="de-DE"/>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solidFill>
                  <a:srgbClr val="FF0000"/>
                </a:solidFill>
                <a:hlinkClick r:id="rId5"/>
              </a:rPr>
              <a:t>&gt;&gt; Picture </a:t>
            </a:r>
            <a:r>
              <a:rPr lang="de-DE" dirty="0" err="1">
                <a:solidFill>
                  <a:srgbClr val="FF0000"/>
                </a:solidFill>
                <a:hlinkClick r:id="rId5"/>
              </a:rPr>
              <a:t>download</a:t>
            </a:r>
            <a:r>
              <a:rPr lang="de-DE" dirty="0">
                <a:solidFill>
                  <a:srgbClr val="FF0000"/>
                </a:solidFill>
                <a:hlinkClick r:id="rId5"/>
              </a:rPr>
              <a:t> Nonwoven</a:t>
            </a:r>
            <a:endParaRPr lang="de-DE" dirty="0">
              <a:solidFill>
                <a:srgbClr val="FF0000"/>
              </a:solidFill>
            </a:endParaRPr>
          </a:p>
        </p:txBody>
      </p:sp>
    </p:spTree>
    <p:extLst>
      <p:ext uri="{BB962C8B-B14F-4D97-AF65-F5344CB8AC3E}">
        <p14:creationId xmlns:p14="http://schemas.microsoft.com/office/powerpoint/2010/main" val="398461017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7e647572839fdf889ac64365fe2f5f304d29a4"/>
  <p:tag name="FINNOVA_CATEGORY" val="None"/>
  <p:tag name="ISPRING_RESOURCE_PATHS_HASH_PRESENTER" val="6423e974572267c5b17a49b4e7f42e4146e6fe27"/>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rtgxRmnmjw0FVuRZ_EH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gN8xxpZnfWpWSB8z_.Z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W6CUCeqCj3mlHaIn4z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2LEOxrnxPo5Jz93o_t8LQ"/>
</p:tagLst>
</file>

<file path=ppt/theme/theme1.xml><?xml version="1.0" encoding="utf-8"?>
<a:theme xmlns:a="http://schemas.openxmlformats.org/drawingml/2006/main" name="Template_Oerlikon_Seg_ManmadeFibers_PP2010_Sep2016_16_9_01_EXP">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extLst>
    <a:ext uri="{05A4C25C-085E-4340-85A3-A5531E510DB2}">
      <thm15:themeFamily xmlns:thm15="http://schemas.microsoft.com/office/thememl/2012/main" name="Presentation11" id="{0511BDAC-6631-49A2-A0B3-7CD5DC8AA6D5}" vid="{76B3E2E1-2775-48F6-9A19-FB3FA214F7EF}"/>
    </a:ext>
  </a:extLst>
</a:theme>
</file>

<file path=ppt/theme/theme2.xml><?xml version="1.0" encoding="utf-8"?>
<a:theme xmlns:a="http://schemas.openxmlformats.org/drawingml/2006/main" name="Template_Oerlikon_Seg_ManmadeFibers_PP2010_Jun2016 - barmag">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extLst>
    <a:ext uri="{05A4C25C-085E-4340-85A3-A5531E510DB2}">
      <thm15:themeFamily xmlns:thm15="http://schemas.microsoft.com/office/thememl/2012/main" name="Presentation11" id="{0511BDAC-6631-49A2-A0B3-7CD5DC8AA6D5}" vid="{D6B05E83-967C-4DE8-81F1-0D09BB49A9E4}"/>
    </a:ext>
  </a:extLst>
</a:theme>
</file>

<file path=ppt/theme/theme3.xml><?xml version="1.0" encoding="utf-8"?>
<a:theme xmlns:a="http://schemas.openxmlformats.org/drawingml/2006/main" name="Template_Oerlikon_Seg_ManmadeFibers_PP2010_Jun2016 - neumag">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extLst>
    <a:ext uri="{05A4C25C-085E-4340-85A3-A5531E510DB2}">
      <thm15:themeFamily xmlns:thm15="http://schemas.microsoft.com/office/thememl/2012/main" name="Presentation11" id="{0511BDAC-6631-49A2-A0B3-7CD5DC8AA6D5}" vid="{3BDD9A7F-9BDE-4BFE-BDED-3C4A1C406D8B}"/>
    </a:ext>
  </a:extLst>
</a:theme>
</file>

<file path=ppt/theme/theme4.xml><?xml version="1.0" encoding="utf-8"?>
<a:theme xmlns:a="http://schemas.openxmlformats.org/drawingml/2006/main" name="Template_Oerlikon_Seg_ManmadeFibers_PP2010_Jun2016 - nonwoven">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extLst>
    <a:ext uri="{05A4C25C-085E-4340-85A3-A5531E510DB2}">
      <thm15:themeFamily xmlns:thm15="http://schemas.microsoft.com/office/thememl/2012/main" name="Presentation11" id="{0511BDAC-6631-49A2-A0B3-7CD5DC8AA6D5}" vid="{C8EE910F-1D4B-4CCE-B036-738530A58792}"/>
    </a:ext>
  </a:extLst>
</a:theme>
</file>

<file path=ppt/theme/theme5.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ppt/theme/theme6.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OMF_16_9</Template>
  <TotalTime>0</TotalTime>
  <Words>1915</Words>
  <Application>Microsoft Office PowerPoint</Application>
  <PresentationFormat>Bildschirmpräsentation (16:9)</PresentationFormat>
  <Paragraphs>352</Paragraphs>
  <Slides>13</Slides>
  <Notes>9</Notes>
  <HiddenSlides>0</HiddenSlides>
  <MMClips>0</MMClips>
  <ScaleCrop>false</ScaleCrop>
  <HeadingPairs>
    <vt:vector size="8" baseType="variant">
      <vt:variant>
        <vt:lpstr>Verwendete Schriftarten</vt:lpstr>
      </vt:variant>
      <vt:variant>
        <vt:i4>2</vt:i4>
      </vt:variant>
      <vt:variant>
        <vt:lpstr>Design</vt:lpstr>
      </vt:variant>
      <vt:variant>
        <vt:i4>4</vt:i4>
      </vt:variant>
      <vt:variant>
        <vt:lpstr>Eingebettete OLE-Server</vt:lpstr>
      </vt:variant>
      <vt:variant>
        <vt:i4>1</vt:i4>
      </vt:variant>
      <vt:variant>
        <vt:lpstr>Folientitel</vt:lpstr>
      </vt:variant>
      <vt:variant>
        <vt:i4>13</vt:i4>
      </vt:variant>
    </vt:vector>
  </HeadingPairs>
  <TitlesOfParts>
    <vt:vector size="20" baseType="lpstr">
      <vt:lpstr>Arial</vt:lpstr>
      <vt:lpstr>Wingdings</vt:lpstr>
      <vt:lpstr>Template_Oerlikon_Seg_ManmadeFibers_PP2010_Sep2016_16_9_01_EXP</vt:lpstr>
      <vt:lpstr>Template_Oerlikon_Seg_ManmadeFibers_PP2010_Jun2016 - barmag</vt:lpstr>
      <vt:lpstr>Template_Oerlikon_Seg_ManmadeFibers_PP2010_Jun2016 - neumag</vt:lpstr>
      <vt:lpstr>Template_Oerlikon_Seg_ManmadeFibers_PP2010_Jun2016 - nonwoven</vt:lpstr>
      <vt:lpstr>think-cell Slide</vt:lpstr>
      <vt:lpstr>From Melt to Yarn, Fibers and Nonwovens Clean Technology. Smart Factory. </vt:lpstr>
      <vt:lpstr>Our Products: From Melt to …</vt:lpstr>
      <vt:lpstr>CP Continuous Polycondensation Plant Solutions</vt:lpstr>
      <vt:lpstr>Filament Yarn (POY/FDY)</vt:lpstr>
      <vt:lpstr>Textured Yarn (DTY)</vt:lpstr>
      <vt:lpstr>Industrial Yarn (IDY) </vt:lpstr>
      <vt:lpstr>Carpet Yarn (BCF)</vt:lpstr>
      <vt:lpstr>Staple Fiber</vt:lpstr>
      <vt:lpstr>Nonwoven</vt:lpstr>
      <vt:lpstr>Flow Control</vt:lpstr>
      <vt:lpstr>Automation Solutions </vt:lpstr>
      <vt:lpstr>Digital Solutions</vt:lpstr>
      <vt:lpstr>Thank you Kontak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 for Segment Manmade Fibers</dc:title>
  <dc:creator>Wallace, Alexandra (Oerlikon Polymer Processing Solutions)</dc:creator>
  <cp:lastModifiedBy>Wallace, Alexandra (Oerlikon Polymer Processing Solutions)</cp:lastModifiedBy>
  <cp:revision>67</cp:revision>
  <cp:lastPrinted>2016-06-02T09:13:30Z</cp:lastPrinted>
  <dcterms:created xsi:type="dcterms:W3CDTF">2021-11-21T23:46:57Z</dcterms:created>
  <dcterms:modified xsi:type="dcterms:W3CDTF">2022-02-03T14:48:32Z</dcterms:modified>
</cp:coreProperties>
</file>